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8" r:id="rId6"/>
  </p:sldMasterIdLst>
  <p:notesMasterIdLst>
    <p:notesMasterId r:id="rId12"/>
  </p:notesMasterIdLst>
  <p:sldIdLst>
    <p:sldId id="256" r:id="rId7"/>
    <p:sldId id="4631" r:id="rId8"/>
    <p:sldId id="4632" r:id="rId9"/>
    <p:sldId id="4633" r:id="rId10"/>
    <p:sldId id="463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4DCB67-6737-FB22-5D4C-4EBB46CAF3BF}" v="1" dt="2019-10-11T11:36:41.730"/>
    <p1510:client id="{6A40415E-86A4-6369-A307-3EE244C1E6F5}" v="3" dt="2019-08-13T04:33:08.4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97" d="100"/>
          <a:sy n="97" d="100"/>
        </p:scale>
        <p:origin x="48" y="23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7711EA-57F2-405A-9FC4-A606E9D681B6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7AB6E3-DE78-4E08-AD34-8E93403410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0303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4916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19 8:33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689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4916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19 8:33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264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4916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19 8:33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240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Envision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4916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9/2019 8:33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3161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682D6-18E3-4BD9-B513-6A305192B1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B6CE69-0ECB-4E1E-A4B2-6CBD9202B0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40500A-B1C0-4B52-B3E4-7AB5209F7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9829B-7AAA-4EBA-B10A-CC1FFF39A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6A4B0-E5FA-418D-9AAB-D080B870E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443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072F7-64EE-4C27-8EE5-8648687F1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59FC6-3352-48CA-A159-C7FE92F4AB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DEB76-CEF7-4A66-99C3-F6AFEE0C0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8825AE-2714-4A13-B82B-DA203ED49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CAB70-6269-4B45-BF86-6F0ED415E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064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880D8E-B63D-411E-8821-2AE8B1CD3C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F3D80E-C8F8-4A56-947B-1C058B63D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526B80-9D85-48F5-9C2B-F6979DABC9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75B91-B322-44B4-AB71-304D2A2DA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9AF8C-957D-4575-96F0-EAFE7422F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5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6859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194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54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859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7127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1696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782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060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F9887-9E7B-405F-AF4F-F5A650851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2C6064-ECCE-463D-BF9C-0B056DF868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268AC-CB7B-4FCD-9E4C-E785180ED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6DC2F-7CBD-4B77-A7BE-9905714FA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51EFC-8EC3-456C-AE49-AD2838129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3815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7628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429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203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Title &amp; Conten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5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39" y="1663914"/>
            <a:ext cx="8964248" cy="669927"/>
          </a:xfrm>
        </p:spPr>
        <p:txBody>
          <a:bodyPr/>
          <a:lstStyle>
            <a:lvl1pPr marL="0" indent="0">
              <a:buNone/>
              <a:defRPr sz="3529"/>
            </a:lvl1pPr>
            <a:lvl2pPr>
              <a:defRPr sz="3529"/>
            </a:lvl2pPr>
            <a:lvl3pPr>
              <a:defRPr sz="3529"/>
            </a:lvl3pPr>
            <a:lvl4pPr>
              <a:defRPr sz="3529"/>
            </a:lvl4pPr>
            <a:lvl5pPr>
              <a:defRPr sz="352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947577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3"/>
          <p:cNvSpPr txBox="1">
            <a:spLocks noGrp="1"/>
          </p:cNvSpPr>
          <p:nvPr>
            <p:ph type="title"/>
          </p:nvPr>
        </p:nvSpPr>
        <p:spPr>
          <a:xfrm>
            <a:off x="639514" y="365125"/>
            <a:ext cx="10918501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1"/>
          </p:nvPr>
        </p:nvSpPr>
        <p:spPr>
          <a:xfrm>
            <a:off x="639514" y="1825623"/>
            <a:ext cx="10912969" cy="3654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16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" name="Date Placeholder 7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b="0"/>
              <a:t>Proprietary and Confidential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870797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321A86-9E56-4433-A734-61451A7A83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321A86-9E56-4433-A734-61451A7A8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Shape 28"/>
          <p:cNvSpPr txBox="1">
            <a:spLocks noGrp="1"/>
          </p:cNvSpPr>
          <p:nvPr>
            <p:ph type="body" idx="1"/>
          </p:nvPr>
        </p:nvSpPr>
        <p:spPr>
          <a:xfrm>
            <a:off x="207200" y="181865"/>
            <a:ext cx="11775534" cy="584776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rgbClr val="D8D8D8"/>
              </a:buClr>
              <a:buSzPts val="3200"/>
              <a:buFont typeface="Arial"/>
              <a:buNone/>
              <a:defRPr sz="2000" b="0" i="0" u="none" strike="noStrike" cap="none">
                <a:solidFill>
                  <a:srgbClr val="D8D8D8"/>
                </a:solidFill>
                <a:latin typeface="+mj-lt"/>
                <a:ea typeface="Helvetica Neue Light"/>
                <a:cs typeface="Helvetica Neue Light"/>
                <a:sym typeface="Helvetica Neue Light"/>
              </a:defRPr>
            </a:lvl1pPr>
            <a:lvl2pPr marL="685800" marR="0" lvl="1" indent="25400" algn="ctr" rtl="0">
              <a:lnSpc>
                <a:spcPct val="90000"/>
              </a:lnSpc>
              <a:spcBef>
                <a:spcPts val="500"/>
              </a:spcBef>
              <a:buClr>
                <a:srgbClr val="D8D8D8"/>
              </a:buClr>
              <a:buSzPts val="4000"/>
              <a:buFont typeface="Arial"/>
              <a:buChar char="•"/>
              <a:defRPr sz="4000" b="0" i="0" u="none" strike="noStrike" cap="none">
                <a:solidFill>
                  <a:srgbClr val="D8D8D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143000" marR="0" lvl="2" indent="25400" algn="ctr" rtl="0">
              <a:lnSpc>
                <a:spcPct val="90000"/>
              </a:lnSpc>
              <a:spcBef>
                <a:spcPts val="500"/>
              </a:spcBef>
              <a:buClr>
                <a:srgbClr val="D8D8D8"/>
              </a:buClr>
              <a:buSzPts val="4000"/>
              <a:buFont typeface="Arial"/>
              <a:buChar char="•"/>
              <a:defRPr sz="4000" b="0" i="0" u="none" strike="noStrike" cap="none">
                <a:solidFill>
                  <a:srgbClr val="D8D8D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600200" marR="0" lvl="3" indent="25400" algn="ctr" rtl="0">
              <a:lnSpc>
                <a:spcPct val="90000"/>
              </a:lnSpc>
              <a:spcBef>
                <a:spcPts val="500"/>
              </a:spcBef>
              <a:buClr>
                <a:srgbClr val="D8D8D8"/>
              </a:buClr>
              <a:buSzPts val="4000"/>
              <a:buFont typeface="Arial"/>
              <a:buChar char="•"/>
              <a:defRPr sz="4000" b="0" i="0" u="none" strike="noStrike" cap="none">
                <a:solidFill>
                  <a:srgbClr val="D8D8D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057400" marR="0" lvl="4" indent="25400" algn="ctr" rtl="0">
              <a:lnSpc>
                <a:spcPct val="90000"/>
              </a:lnSpc>
              <a:spcBef>
                <a:spcPts val="500"/>
              </a:spcBef>
              <a:buClr>
                <a:srgbClr val="D8D8D8"/>
              </a:buClr>
              <a:buSzPts val="4000"/>
              <a:buFont typeface="Arial"/>
              <a:buChar char="•"/>
              <a:defRPr sz="4000" b="0" i="0" u="none" strike="noStrike" cap="none">
                <a:solidFill>
                  <a:srgbClr val="D8D8D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68951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4400092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629286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41" t="8088" b="18978"/>
          <a:stretch/>
        </p:blipFill>
        <p:spPr>
          <a:xfrm>
            <a:off x="0" y="-1"/>
            <a:ext cx="12192000" cy="685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52062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213" y="5799727"/>
            <a:ext cx="2193276" cy="806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68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0733E-4000-4857-AF52-FBCB2EC1D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F7AA72-572A-4CF7-AD25-623A3BF3C7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0A8F9C-5ABF-44EF-87D1-3C283840C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4655F1-FC33-43CF-9B0B-B84747245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7B9696-1DF2-4529-8BB6-F62B5982B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0983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976706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9332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956042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068203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64147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743427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96318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73634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799513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21330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725EA-232D-4ABF-861D-DC9B8D339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21E49-2C90-44D3-BBF2-A70197E0DF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96F8A3-67A3-4403-9447-C3B1E788D5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0EA3E-35C9-4C67-B6DC-9EDBF151B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234598-9E78-4B9C-B42D-9425255EC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531166-FA12-40F1-932F-F784637AC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1539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709536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2038553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06197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73737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762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2915085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71380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470067"/>
            <a:ext cx="12192000" cy="59178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83120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4211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034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3E3DF-9BC8-4B20-BFB5-AFBC4AA40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35AB62-3452-4146-9807-E992AE2128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A7BF8A-6487-4BDE-A667-5DFF990FDC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3B12B3-6E03-4428-99F5-2420A6D340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9B5FA4-17D2-4687-ABFD-8C0F4F7684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23B4C7-955D-4626-ACAF-CFF005F655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817810-BF49-40B8-9D18-E861C0AAF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03B1B6-1A5C-499A-B811-052FB6D3E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6983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725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615551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766658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9616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 flipH="1">
            <a:off x="0" y="0"/>
            <a:ext cx="12191377" cy="685862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5" y="6121975"/>
            <a:ext cx="1254995" cy="267936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6880605" y="-3113"/>
            <a:ext cx="5311638" cy="6861113"/>
            <a:chOff x="7018575" y="-3175"/>
            <a:chExt cx="5418147" cy="6997700"/>
          </a:xfrm>
        </p:grpSpPr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018575" y="-3175"/>
              <a:ext cx="5418147" cy="6997700"/>
            </a:xfrm>
            <a:custGeom>
              <a:avLst/>
              <a:gdLst>
                <a:gd name="connsiteX0" fmla="*/ 1503362 w 5418147"/>
                <a:gd name="connsiteY0" fmla="*/ 0 h 6997700"/>
                <a:gd name="connsiteX1" fmla="*/ 5418147 w 5418147"/>
                <a:gd name="connsiteY1" fmla="*/ 0 h 6997700"/>
                <a:gd name="connsiteX2" fmla="*/ 5418147 w 5418147"/>
                <a:gd name="connsiteY2" fmla="*/ 6997700 h 6997700"/>
                <a:gd name="connsiteX3" fmla="*/ 0 w 5418147"/>
                <a:gd name="connsiteY3" fmla="*/ 6997700 h 699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147" h="6997700">
                  <a:moveTo>
                    <a:pt x="1503362" y="0"/>
                  </a:moveTo>
                  <a:lnTo>
                    <a:pt x="5418147" y="0"/>
                  </a:lnTo>
                  <a:lnTo>
                    <a:pt x="5418147" y="6997700"/>
                  </a:lnTo>
                  <a:lnTo>
                    <a:pt x="0" y="69977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765"/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516907" y="2138988"/>
              <a:ext cx="3609001" cy="1973682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75000"/>
                </a:lnSpc>
                <a:spcAft>
                  <a:spcPts val="588"/>
                </a:spcAft>
              </a:pPr>
              <a:r>
                <a:rPr lang="en-US" sz="431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icrosoft</a:t>
              </a:r>
            </a:p>
            <a:p>
              <a:pPr>
                <a:lnSpc>
                  <a:spcPct val="75000"/>
                </a:lnSpc>
                <a:spcAft>
                  <a:spcPts val="588"/>
                </a:spcAft>
              </a:pPr>
              <a:r>
                <a:rPr lang="en-US" sz="431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Data Insights</a:t>
              </a:r>
            </a:p>
            <a:p>
              <a:pPr>
                <a:lnSpc>
                  <a:spcPct val="75000"/>
                </a:lnSpc>
                <a:spcAft>
                  <a:spcPts val="588"/>
                </a:spcAft>
              </a:pPr>
              <a:r>
                <a:rPr lang="en-US" sz="431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ummit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8516907" y="4087270"/>
              <a:ext cx="2414635" cy="101925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75000"/>
                </a:lnSpc>
                <a:spcAft>
                  <a:spcPts val="588"/>
                </a:spcAft>
              </a:pPr>
              <a:r>
                <a:rPr lang="en-US" sz="2745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rch 22-23</a:t>
              </a:r>
            </a:p>
            <a:p>
              <a:pPr>
                <a:lnSpc>
                  <a:spcPct val="75000"/>
                </a:lnSpc>
                <a:spcAft>
                  <a:spcPts val="588"/>
                </a:spcAft>
              </a:pPr>
              <a:r>
                <a:rPr lang="en-US" sz="2745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ellevue, W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258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/>
          </p:cNvSpPr>
          <p:nvPr userDrawn="1"/>
        </p:nvSpPr>
        <p:spPr bwMode="invGray">
          <a:xfrm>
            <a:off x="0" y="4364214"/>
            <a:ext cx="12192000" cy="2500956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765"/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invGray">
          <a:xfrm>
            <a:off x="0" y="4905431"/>
            <a:ext cx="12192000" cy="1959739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192D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765"/>
          </a:p>
        </p:txBody>
      </p:sp>
      <p:sp>
        <p:nvSpPr>
          <p:cNvPr id="9" name="Title 1"/>
          <p:cNvSpPr>
            <a:spLocks noGrp="1"/>
          </p:cNvSpPr>
          <p:nvPr userDrawn="1">
            <p:ph type="title" hasCustomPrompt="1"/>
          </p:nvPr>
        </p:nvSpPr>
        <p:spPr bwMode="auto">
          <a:xfrm>
            <a:off x="269302" y="1187621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4" hasCustomPrompt="1"/>
          </p:nvPr>
        </p:nvSpPr>
        <p:spPr bwMode="auto">
          <a:xfrm>
            <a:off x="267683" y="2987083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5" y="6121975"/>
            <a:ext cx="1254995" cy="26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88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-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invGray">
          <a:xfrm>
            <a:off x="0" y="4364214"/>
            <a:ext cx="12192000" cy="2500956"/>
          </a:xfrm>
          <a:custGeom>
            <a:avLst/>
            <a:gdLst>
              <a:gd name="connsiteX0" fmla="*/ 10360025 w 12436475"/>
              <a:gd name="connsiteY0" fmla="*/ 0 h 2550744"/>
              <a:gd name="connsiteX1" fmla="*/ 12436475 w 12436475"/>
              <a:gd name="connsiteY1" fmla="*/ 795600 h 2550744"/>
              <a:gd name="connsiteX2" fmla="*/ 12436475 w 12436475"/>
              <a:gd name="connsiteY2" fmla="*/ 2547284 h 2550744"/>
              <a:gd name="connsiteX3" fmla="*/ 12436475 w 12436475"/>
              <a:gd name="connsiteY3" fmla="*/ 2550744 h 2550744"/>
              <a:gd name="connsiteX4" fmla="*/ 0 w 12436475"/>
              <a:gd name="connsiteY4" fmla="*/ 2550744 h 2550744"/>
              <a:gd name="connsiteX5" fmla="*/ 0 w 12436475"/>
              <a:gd name="connsiteY5" fmla="*/ 2370885 h 2550744"/>
              <a:gd name="connsiteX6" fmla="*/ 0 w 12436475"/>
              <a:gd name="connsiteY6" fmla="*/ 1075823 h 2550744"/>
              <a:gd name="connsiteX7" fmla="*/ 2016125 w 12436475"/>
              <a:gd name="connsiteY7" fmla="*/ 793640 h 2550744"/>
              <a:gd name="connsiteX8" fmla="*/ 5283200 w 12436475"/>
              <a:gd name="connsiteY8" fmla="*/ 1651947 h 2550744"/>
              <a:gd name="connsiteX9" fmla="*/ 10360025 w 12436475"/>
              <a:gd name="connsiteY9" fmla="*/ 0 h 255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36475" h="2550744">
                <a:moveTo>
                  <a:pt x="10360025" y="0"/>
                </a:moveTo>
                <a:cubicBezTo>
                  <a:pt x="11176000" y="0"/>
                  <a:pt x="11890375" y="372325"/>
                  <a:pt x="12436475" y="795600"/>
                </a:cubicBezTo>
                <a:cubicBezTo>
                  <a:pt x="12436475" y="795600"/>
                  <a:pt x="12436475" y="795600"/>
                  <a:pt x="12436475" y="2547284"/>
                </a:cubicBezTo>
                <a:lnTo>
                  <a:pt x="12436475" y="2550744"/>
                </a:lnTo>
                <a:lnTo>
                  <a:pt x="0" y="2550744"/>
                </a:lnTo>
                <a:lnTo>
                  <a:pt x="0" y="2370885"/>
                </a:lnTo>
                <a:cubicBezTo>
                  <a:pt x="0" y="2010128"/>
                  <a:pt x="0" y="1582565"/>
                  <a:pt x="0" y="1075823"/>
                </a:cubicBezTo>
                <a:cubicBezTo>
                  <a:pt x="0" y="1075823"/>
                  <a:pt x="1063625" y="746610"/>
                  <a:pt x="2016125" y="793640"/>
                </a:cubicBezTo>
                <a:cubicBezTo>
                  <a:pt x="2968625" y="840671"/>
                  <a:pt x="4152900" y="1640190"/>
                  <a:pt x="5283200" y="1651947"/>
                </a:cubicBezTo>
                <a:cubicBezTo>
                  <a:pt x="6416675" y="1663705"/>
                  <a:pt x="8474075" y="0"/>
                  <a:pt x="1036002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765"/>
          </a:p>
        </p:txBody>
      </p:sp>
      <p:sp>
        <p:nvSpPr>
          <p:cNvPr id="8" name="Freeform 7"/>
          <p:cNvSpPr>
            <a:spLocks/>
          </p:cNvSpPr>
          <p:nvPr userDrawn="1"/>
        </p:nvSpPr>
        <p:spPr bwMode="invGray">
          <a:xfrm>
            <a:off x="0" y="4905431"/>
            <a:ext cx="12192000" cy="1959739"/>
          </a:xfrm>
          <a:custGeom>
            <a:avLst/>
            <a:gdLst>
              <a:gd name="connsiteX0" fmla="*/ 2930526 w 12436475"/>
              <a:gd name="connsiteY0" fmla="*/ 1729 h 1998752"/>
              <a:gd name="connsiteX1" fmla="*/ 5788025 w 12436475"/>
              <a:gd name="connsiteY1" fmla="*/ 965528 h 1998752"/>
              <a:gd name="connsiteX2" fmla="*/ 7159625 w 12436475"/>
              <a:gd name="connsiteY2" fmla="*/ 1041686 h 1998752"/>
              <a:gd name="connsiteX3" fmla="*/ 9731375 w 12436475"/>
              <a:gd name="connsiteY3" fmla="*/ 1656207 h 1998752"/>
              <a:gd name="connsiteX4" fmla="*/ 12436475 w 12436475"/>
              <a:gd name="connsiteY4" fmla="*/ 1041686 h 1998752"/>
              <a:gd name="connsiteX5" fmla="*/ 12436475 w 12436475"/>
              <a:gd name="connsiteY5" fmla="*/ 1866991 h 1998752"/>
              <a:gd name="connsiteX6" fmla="*/ 12436475 w 12436475"/>
              <a:gd name="connsiteY6" fmla="*/ 1998752 h 1998752"/>
              <a:gd name="connsiteX7" fmla="*/ 0 w 12436475"/>
              <a:gd name="connsiteY7" fmla="*/ 1998752 h 1998752"/>
              <a:gd name="connsiteX8" fmla="*/ 0 w 12436475"/>
              <a:gd name="connsiteY8" fmla="*/ 962902 h 1998752"/>
              <a:gd name="connsiteX9" fmla="*/ 1292225 w 12436475"/>
              <a:gd name="connsiteY9" fmla="*/ 773819 h 1998752"/>
              <a:gd name="connsiteX10" fmla="*/ 2930526 w 12436475"/>
              <a:gd name="connsiteY10" fmla="*/ 1729 h 1998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36475" h="1998752">
                <a:moveTo>
                  <a:pt x="2930526" y="1729"/>
                </a:moveTo>
                <a:cubicBezTo>
                  <a:pt x="3597275" y="-45542"/>
                  <a:pt x="4625976" y="891996"/>
                  <a:pt x="5788025" y="965528"/>
                </a:cubicBezTo>
                <a:cubicBezTo>
                  <a:pt x="6950075" y="1041686"/>
                  <a:pt x="6359525" y="976033"/>
                  <a:pt x="7159625" y="1041686"/>
                </a:cubicBezTo>
                <a:cubicBezTo>
                  <a:pt x="7959725" y="1104714"/>
                  <a:pt x="8893175" y="1656207"/>
                  <a:pt x="9731375" y="1656207"/>
                </a:cubicBezTo>
                <a:cubicBezTo>
                  <a:pt x="10569575" y="1656207"/>
                  <a:pt x="12436475" y="1041686"/>
                  <a:pt x="12436475" y="1041686"/>
                </a:cubicBezTo>
                <a:cubicBezTo>
                  <a:pt x="12436475" y="1344269"/>
                  <a:pt x="12436475" y="1618484"/>
                  <a:pt x="12436475" y="1866991"/>
                </a:cubicBezTo>
                <a:lnTo>
                  <a:pt x="12436475" y="1998752"/>
                </a:lnTo>
                <a:lnTo>
                  <a:pt x="0" y="1998752"/>
                </a:lnTo>
                <a:lnTo>
                  <a:pt x="0" y="962902"/>
                </a:lnTo>
                <a:cubicBezTo>
                  <a:pt x="0" y="962902"/>
                  <a:pt x="796925" y="1010173"/>
                  <a:pt x="1292225" y="773819"/>
                </a:cubicBezTo>
                <a:cubicBezTo>
                  <a:pt x="1787525" y="537465"/>
                  <a:pt x="2263775" y="49000"/>
                  <a:pt x="2930526" y="1729"/>
                </a:cubicBezTo>
                <a:close/>
              </a:path>
            </a:pathLst>
          </a:custGeom>
          <a:solidFill>
            <a:srgbClr val="3192D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168235505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1552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5"/>
            <a:ext cx="11655079" cy="2328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504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46120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32C840-C113-44B4-B728-E1E34A646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4BE80-2071-420B-B7D4-AC93CDE48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E7FF79-84E7-4F87-9780-85EE67BD5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C8A47C-4F69-465A-AE66-A328AEBFF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59324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69B44-0CCA-4767-B0F2-7D9E3E8BC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6A083-9C7E-4DF6-BD65-C7A650DA1A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B0BCDD-6F4F-4FA3-AE2D-876922F1F7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DCAF2-0DD0-4A25-B656-2179DE96FA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45661C-36FA-450D-A93B-F7D2DD49FE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48A22B-C479-4749-A37F-A14D4BA33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E05FE-57E3-4355-BDAD-D571F93696C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C981B4-3C15-4F82-AF97-C7C628658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F86ED1-CF0E-4DD1-83FF-87E3B2464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B3643D-5252-4C16-87B7-05B6178BAD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19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6C27DA-8FC0-4797-B8D2-CC53D6FF6F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Dynamics 365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55938D-6F3F-482E-8548-B1A281B2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556382"/>
            <a:ext cx="3704844" cy="8138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211166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688233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16.09.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1F79F-C525-4FC8-9A60-56EB72EAB8B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906780" y="639955"/>
            <a:ext cx="10447020" cy="610559"/>
          </a:xfrm>
        </p:spPr>
        <p:txBody>
          <a:bodyPr>
            <a:normAutofit/>
          </a:bodyPr>
          <a:lstStyle>
            <a:lvl1pPr marL="0" indent="0">
              <a:buNone/>
              <a:defRPr sz="3600">
                <a:latin typeface="+mj-lt"/>
              </a:defRPr>
            </a:lvl1pPr>
          </a:lstStyle>
          <a:p>
            <a:pPr lvl="0"/>
            <a:r>
              <a:rPr lang="en-US"/>
              <a:t>Write a title (References)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12287" y="585153"/>
            <a:ext cx="1790700" cy="0"/>
          </a:xfrm>
          <a:prstGeom prst="line">
            <a:avLst/>
          </a:prstGeom>
          <a:ln w="95250">
            <a:solidFill>
              <a:srgbClr val="F2C8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637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0B2F65-7D1D-4D49-A289-2A0F1B5C6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07814D-8B06-45EF-8780-6A0729E19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E023C-E2E5-499E-9A2D-CA6031A0E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114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15F3C-5E25-46EA-9B94-420483CC7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A1B98F-FC41-4262-9C06-351BB9CE7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1FD95E-3B6B-44D2-A07F-E5810289E3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DD0123-1B95-418A-A614-5D7C76394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C636AB-EA0B-49F4-BB6A-FD0EAEC57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7751DB-7AB3-4D5F-B56B-4A293F99C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545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52A6C-0490-4CEA-844F-C17E79FE3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E4D92E-8D94-4972-A57F-1848C777D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C011F4-9051-412C-A17B-F9C0E062B6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BF16A6-5246-4F66-BFD2-C2C9697FD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459659-7973-4AF9-96F4-8F2959C4A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62A10F-DF6F-40A3-B9E5-D868E5943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557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5BB88C-1F15-436E-A826-B2F87CC65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BCE18E-30FF-4826-BE12-6A6D91B824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2F352E-ECE5-416A-BFF5-B26299FB5B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46F6F1-2930-4815-9688-EC480DF3B27A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AA0AA2-0A9D-47FE-B65C-05313A48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0DD556-5ED5-411B-83AE-910CD3664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5E904B-DF12-4709-B122-21500B6BF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182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5444C5-7014-467D-BB34-E2400B443BC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BA94C7-5C90-4871-9206-7541123BB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65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  <p:sldLayoutId id="2147483675" r:id="rId14"/>
    <p:sldLayoutId id="2147483676" r:id="rId15"/>
    <p:sldLayoutId id="2147483677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68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  <p:sldLayoutId id="2147483707" r:id="rId29"/>
    <p:sldLayoutId id="2147483708" r:id="rId30"/>
    <p:sldLayoutId id="2147483709" r:id="rId31"/>
    <p:sldLayoutId id="2147483710" r:id="rId32"/>
    <p:sldLayoutId id="2147483711" r:id="rId33"/>
    <p:sldLayoutId id="2147483712" r:id="rId34"/>
    <p:sldLayoutId id="2147483714" r:id="rId35"/>
    <p:sldLayoutId id="2147483715" r:id="rId3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65624-D2AC-4219-826F-08A424AF21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AutoML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FC0BB0-322F-4E3E-BBD2-6AC2C217E0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987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C4AC55CB-1E53-4046-9F18-736C738B94F2}"/>
              </a:ext>
            </a:extLst>
          </p:cNvPr>
          <p:cNvSpPr txBox="1">
            <a:spLocks/>
          </p:cNvSpPr>
          <p:nvPr/>
        </p:nvSpPr>
        <p:spPr>
          <a:xfrm>
            <a:off x="2660794" y="4873351"/>
            <a:ext cx="6885978" cy="568833"/>
          </a:xfrm>
          <a:prstGeom prst="rect">
            <a:avLst/>
          </a:prstGeom>
          <a:noFill/>
        </p:spPr>
        <p:txBody>
          <a:bodyPr wrap="square" tIns="89642" bIns="89642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100" baseline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5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How much is this car worth?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E3669FDF-B3F4-4C9E-A603-C252A18C2BAB}"/>
              </a:ext>
            </a:extLst>
          </p:cNvPr>
          <p:cNvSpPr>
            <a:spLocks noEditPoints="1"/>
          </p:cNvSpPr>
          <p:nvPr/>
        </p:nvSpPr>
        <p:spPr bwMode="auto">
          <a:xfrm>
            <a:off x="4446814" y="2659496"/>
            <a:ext cx="3298372" cy="1984378"/>
          </a:xfrm>
          <a:custGeom>
            <a:avLst/>
            <a:gdLst>
              <a:gd name="T0" fmla="*/ 27 w 339"/>
              <a:gd name="T1" fmla="*/ 70 h 204"/>
              <a:gd name="T2" fmla="*/ 287 w 339"/>
              <a:gd name="T3" fmla="*/ 70 h 204"/>
              <a:gd name="T4" fmla="*/ 339 w 339"/>
              <a:gd name="T5" fmla="*/ 122 h 204"/>
              <a:gd name="T6" fmla="*/ 339 w 339"/>
              <a:gd name="T7" fmla="*/ 160 h 204"/>
              <a:gd name="T8" fmla="*/ 318 w 339"/>
              <a:gd name="T9" fmla="*/ 182 h 204"/>
              <a:gd name="T10" fmla="*/ 294 w 339"/>
              <a:gd name="T11" fmla="*/ 182 h 204"/>
              <a:gd name="T12" fmla="*/ 297 w 339"/>
              <a:gd name="T13" fmla="*/ 168 h 204"/>
              <a:gd name="T14" fmla="*/ 261 w 339"/>
              <a:gd name="T15" fmla="*/ 131 h 204"/>
              <a:gd name="T16" fmla="*/ 224 w 339"/>
              <a:gd name="T17" fmla="*/ 168 h 204"/>
              <a:gd name="T18" fmla="*/ 261 w 339"/>
              <a:gd name="T19" fmla="*/ 204 h 204"/>
              <a:gd name="T20" fmla="*/ 297 w 339"/>
              <a:gd name="T21" fmla="*/ 168 h 204"/>
              <a:gd name="T22" fmla="*/ 95 w 339"/>
              <a:gd name="T23" fmla="*/ 168 h 204"/>
              <a:gd name="T24" fmla="*/ 59 w 339"/>
              <a:gd name="T25" fmla="*/ 131 h 204"/>
              <a:gd name="T26" fmla="*/ 22 w 339"/>
              <a:gd name="T27" fmla="*/ 168 h 204"/>
              <a:gd name="T28" fmla="*/ 59 w 339"/>
              <a:gd name="T29" fmla="*/ 204 h 204"/>
              <a:gd name="T30" fmla="*/ 95 w 339"/>
              <a:gd name="T31" fmla="*/ 168 h 204"/>
              <a:gd name="T32" fmla="*/ 63 w 339"/>
              <a:gd name="T33" fmla="*/ 0 h 204"/>
              <a:gd name="T34" fmla="*/ 10 w 339"/>
              <a:gd name="T35" fmla="*/ 105 h 204"/>
              <a:gd name="T36" fmla="*/ 0 w 339"/>
              <a:gd name="T37" fmla="*/ 139 h 204"/>
              <a:gd name="T38" fmla="*/ 24 w 339"/>
              <a:gd name="T39" fmla="*/ 178 h 204"/>
              <a:gd name="T40" fmla="*/ 271 w 339"/>
              <a:gd name="T41" fmla="*/ 70 h 204"/>
              <a:gd name="T42" fmla="*/ 222 w 339"/>
              <a:gd name="T43" fmla="*/ 15 h 204"/>
              <a:gd name="T44" fmla="*/ 194 w 339"/>
              <a:gd name="T45" fmla="*/ 0 h 204"/>
              <a:gd name="T46" fmla="*/ 37 w 339"/>
              <a:gd name="T47" fmla="*/ 0 h 204"/>
              <a:gd name="T48" fmla="*/ 227 w 339"/>
              <a:gd name="T49" fmla="*/ 182 h 204"/>
              <a:gd name="T50" fmla="*/ 92 w 339"/>
              <a:gd name="T51" fmla="*/ 182 h 204"/>
              <a:gd name="T52" fmla="*/ 134 w 339"/>
              <a:gd name="T53" fmla="*/ 182 h 204"/>
              <a:gd name="T54" fmla="*/ 134 w 339"/>
              <a:gd name="T5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39" h="204">
                <a:moveTo>
                  <a:pt x="27" y="70"/>
                </a:moveTo>
                <a:cubicBezTo>
                  <a:pt x="287" y="70"/>
                  <a:pt x="287" y="70"/>
                  <a:pt x="287" y="70"/>
                </a:cubicBezTo>
                <a:cubicBezTo>
                  <a:pt x="316" y="70"/>
                  <a:pt x="339" y="94"/>
                  <a:pt x="339" y="122"/>
                </a:cubicBezTo>
                <a:cubicBezTo>
                  <a:pt x="339" y="160"/>
                  <a:pt x="339" y="160"/>
                  <a:pt x="339" y="160"/>
                </a:cubicBezTo>
                <a:cubicBezTo>
                  <a:pt x="339" y="172"/>
                  <a:pt x="330" y="182"/>
                  <a:pt x="318" y="182"/>
                </a:cubicBezTo>
                <a:cubicBezTo>
                  <a:pt x="294" y="182"/>
                  <a:pt x="294" y="182"/>
                  <a:pt x="294" y="182"/>
                </a:cubicBezTo>
                <a:moveTo>
                  <a:pt x="297" y="168"/>
                </a:moveTo>
                <a:cubicBezTo>
                  <a:pt x="297" y="148"/>
                  <a:pt x="281" y="131"/>
                  <a:pt x="261" y="131"/>
                </a:cubicBezTo>
                <a:cubicBezTo>
                  <a:pt x="241" y="131"/>
                  <a:pt x="224" y="148"/>
                  <a:pt x="224" y="168"/>
                </a:cubicBezTo>
                <a:cubicBezTo>
                  <a:pt x="224" y="188"/>
                  <a:pt x="241" y="204"/>
                  <a:pt x="261" y="204"/>
                </a:cubicBezTo>
                <a:cubicBezTo>
                  <a:pt x="281" y="204"/>
                  <a:pt x="297" y="188"/>
                  <a:pt x="297" y="168"/>
                </a:cubicBezTo>
                <a:close/>
                <a:moveTo>
                  <a:pt x="95" y="168"/>
                </a:moveTo>
                <a:cubicBezTo>
                  <a:pt x="95" y="148"/>
                  <a:pt x="79" y="131"/>
                  <a:pt x="59" y="131"/>
                </a:cubicBezTo>
                <a:cubicBezTo>
                  <a:pt x="39" y="131"/>
                  <a:pt x="22" y="148"/>
                  <a:pt x="22" y="168"/>
                </a:cubicBezTo>
                <a:cubicBezTo>
                  <a:pt x="22" y="188"/>
                  <a:pt x="39" y="204"/>
                  <a:pt x="59" y="204"/>
                </a:cubicBezTo>
                <a:cubicBezTo>
                  <a:pt x="79" y="204"/>
                  <a:pt x="95" y="188"/>
                  <a:pt x="95" y="168"/>
                </a:cubicBezTo>
                <a:close/>
                <a:moveTo>
                  <a:pt x="63" y="0"/>
                </a:moveTo>
                <a:cubicBezTo>
                  <a:pt x="63" y="0"/>
                  <a:pt x="20" y="84"/>
                  <a:pt x="10" y="105"/>
                </a:cubicBezTo>
                <a:cubicBezTo>
                  <a:pt x="0" y="127"/>
                  <a:pt x="0" y="139"/>
                  <a:pt x="0" y="139"/>
                </a:cubicBezTo>
                <a:cubicBezTo>
                  <a:pt x="0" y="154"/>
                  <a:pt x="9" y="173"/>
                  <a:pt x="24" y="178"/>
                </a:cubicBezTo>
                <a:moveTo>
                  <a:pt x="271" y="70"/>
                </a:moveTo>
                <a:cubicBezTo>
                  <a:pt x="222" y="15"/>
                  <a:pt x="222" y="15"/>
                  <a:pt x="222" y="15"/>
                </a:cubicBezTo>
                <a:cubicBezTo>
                  <a:pt x="214" y="5"/>
                  <a:pt x="206" y="0"/>
                  <a:pt x="194" y="0"/>
                </a:cubicBezTo>
                <a:cubicBezTo>
                  <a:pt x="37" y="0"/>
                  <a:pt x="37" y="0"/>
                  <a:pt x="37" y="0"/>
                </a:cubicBezTo>
                <a:moveTo>
                  <a:pt x="227" y="182"/>
                </a:moveTo>
                <a:cubicBezTo>
                  <a:pt x="92" y="182"/>
                  <a:pt x="92" y="182"/>
                  <a:pt x="92" y="182"/>
                </a:cubicBezTo>
                <a:moveTo>
                  <a:pt x="134" y="182"/>
                </a:moveTo>
                <a:cubicBezTo>
                  <a:pt x="134" y="0"/>
                  <a:pt x="134" y="0"/>
                  <a:pt x="134" y="0"/>
                </a:cubicBezTo>
              </a:path>
            </a:pathLst>
          </a:custGeom>
          <a:noFill/>
          <a:ln w="19050">
            <a:solidFill>
              <a:schemeClr val="tx2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5693D4-FD57-41B5-995B-476C4411F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Machine Learning Example</a:t>
            </a:r>
            <a:br>
              <a:rPr lang="en-US"/>
            </a:br>
            <a:endParaRPr lang="en-US" sz="2000" spc="0">
              <a:ln>
                <a:noFill/>
              </a:ln>
              <a:solidFill>
                <a:schemeClr val="tx2"/>
              </a:solidFill>
              <a:latin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3489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" presetClass="entr" presetSubtype="8" accel="6667" fill="hold" grpId="0" nodeType="withEffect" p14:presetBounceEnd="3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5000">
                                          <p:cBhvr additive="base">
                                            <p:cTn id="10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5000">
                                          <p:cBhvr additive="base">
                                            <p:cTn id="11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0" grpId="0"/>
          <p:bldP spid="5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" presetClass="entr" presetSubtype="8" accel="6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0" grpId="0"/>
          <p:bldP spid="5" grpId="0" animBg="1"/>
        </p:bldLst>
      </p:timing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2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107996"/>
          </a:xfrm>
        </p:spPr>
        <p:txBody>
          <a:bodyPr>
            <a:normAutofit fontScale="90000"/>
          </a:bodyPr>
          <a:lstStyle/>
          <a:p>
            <a:pPr algn="ctr"/>
            <a:r>
              <a:rPr lang="en-US"/>
              <a:t>Model creation is typically a time consuming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68F540-B516-4595-99BE-669BAE43E877}"/>
              </a:ext>
            </a:extLst>
          </p:cNvPr>
          <p:cNvSpPr/>
          <p:nvPr/>
        </p:nvSpPr>
        <p:spPr bwMode="auto">
          <a:xfrm>
            <a:off x="735582" y="2780150"/>
            <a:ext cx="1775864" cy="210461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Mileage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Condition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Car brand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Year of make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Regulations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58CC-0786-48FB-A64B-B427CE24316B}"/>
              </a:ext>
            </a:extLst>
          </p:cNvPr>
          <p:cNvSpPr/>
          <p:nvPr/>
        </p:nvSpPr>
        <p:spPr bwMode="auto">
          <a:xfrm>
            <a:off x="5577476" y="2780150"/>
            <a:ext cx="1371644" cy="175067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Parameter 1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Parameter 2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Parameter 3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Parameter 4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13D47F-F817-488D-A5C9-E311626DB096}"/>
              </a:ext>
            </a:extLst>
          </p:cNvPr>
          <p:cNvSpPr/>
          <p:nvPr/>
        </p:nvSpPr>
        <p:spPr bwMode="auto">
          <a:xfrm>
            <a:off x="3084711" y="2780150"/>
            <a:ext cx="2281590" cy="210461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Gradient Boosted  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Nearest Neighbors 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SVM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Bayesian Regression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LGBM 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05D490-EE66-4928-8D25-10151ED50C5B}"/>
              </a:ext>
            </a:extLst>
          </p:cNvPr>
          <p:cNvSpPr/>
          <p:nvPr/>
        </p:nvSpPr>
        <p:spPr bwMode="auto">
          <a:xfrm>
            <a:off x="735582" y="2829079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rPr>
              <a:t>Mile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9EEEBE-474C-4A48-8C83-5F1694ABB77B}"/>
              </a:ext>
            </a:extLst>
          </p:cNvPr>
          <p:cNvSpPr/>
          <p:nvPr/>
        </p:nvSpPr>
        <p:spPr bwMode="auto">
          <a:xfrm>
            <a:off x="3084711" y="2802580"/>
            <a:ext cx="2084214" cy="3412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Gradient Boost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D24F1C5-AFA1-4EB9-B62D-87EF246C2E29}"/>
              </a:ext>
            </a:extLst>
          </p:cNvPr>
          <p:cNvSpPr/>
          <p:nvPr/>
        </p:nvSpPr>
        <p:spPr bwMode="auto">
          <a:xfrm>
            <a:off x="5577476" y="2780150"/>
            <a:ext cx="1669661" cy="175067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Criterion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Loss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Min Samples Split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Min Samples Leaf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Other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7F8B3D-BA5D-451F-A1DB-80D9356B9AD0}"/>
              </a:ext>
            </a:extLst>
          </p:cNvPr>
          <p:cNvGrpSpPr/>
          <p:nvPr/>
        </p:nvGrpSpPr>
        <p:grpSpPr>
          <a:xfrm>
            <a:off x="7295059" y="2893312"/>
            <a:ext cx="1450614" cy="147003"/>
            <a:chOff x="8120217" y="3558128"/>
            <a:chExt cx="1940664" cy="14700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6E66D7F-221D-4A0D-A9EC-9E8497E2AEAA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F721B48-8884-4907-8896-F0A5619E29E6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70DBDBC-C4D7-4D6E-9975-A40CD248796E}"/>
                </a:ext>
              </a:extLst>
            </p:cNvPr>
            <p:cNvGrpSpPr/>
            <p:nvPr/>
          </p:nvGrpSpPr>
          <p:grpSpPr>
            <a:xfrm>
              <a:off x="8335846" y="3593256"/>
              <a:ext cx="1509402" cy="111875"/>
              <a:chOff x="8335846" y="3498555"/>
              <a:chExt cx="1509402" cy="206573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33F4E9F9-A7BB-417B-B7D8-44E513C1E35E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4471F8A-A6FF-478F-B21C-16B27F79EA16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87BD7BAD-A456-4CDA-AAF2-5B28F66CF7AC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6D93968D-4ED1-4D98-BC02-7CE789FA38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498555"/>
                <a:ext cx="0" cy="206573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6F79CF59-778A-4310-9EAA-73FC5193DBEB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235C58FA-21CF-4D4E-8F85-D218ABD5DBD4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307C462-2E34-4B78-AF4D-6D93FF61EB7D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482B236-4337-4E82-BF42-5F3BF652CD04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3E6691-849A-42CE-B310-226C974D8545}"/>
              </a:ext>
            </a:extLst>
          </p:cNvPr>
          <p:cNvGrpSpPr/>
          <p:nvPr/>
        </p:nvGrpSpPr>
        <p:grpSpPr>
          <a:xfrm>
            <a:off x="7295059" y="3241014"/>
            <a:ext cx="1450614" cy="146999"/>
            <a:chOff x="8120217" y="3558128"/>
            <a:chExt cx="1940664" cy="146999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A2AADB1-5ACB-4B06-8960-DA5B2CBA9577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71EAF7-2482-48BE-B9D1-ED930A7D5255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B140EAB-319E-4A3D-BADD-1487F2A8610F}"/>
                </a:ext>
              </a:extLst>
            </p:cNvPr>
            <p:cNvGrpSpPr/>
            <p:nvPr/>
          </p:nvGrpSpPr>
          <p:grpSpPr>
            <a:xfrm>
              <a:off x="8335846" y="3592140"/>
              <a:ext cx="1509402" cy="112986"/>
              <a:chOff x="8335846" y="3496504"/>
              <a:chExt cx="1509402" cy="208625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E00BEBDB-ED9F-4CF4-86F8-6932A394656B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385136C-A8BF-418A-AC51-79F632211548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ED7CE1A0-DB70-4794-98EC-7F2367C9D904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FE2E449-5E21-4074-AE06-FFA79787AFB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496504"/>
                <a:ext cx="0" cy="208625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7693B8E-21A1-4B6A-B15E-5563F05446DF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8085440-B678-4A53-91EA-F68A0F5D3ABF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ECADAF9-6666-4671-8DF5-6C4B0902B046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39F7B7-30CE-40EC-BD52-084CB961FCF6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2862650-122D-478D-A643-4F78F1CFC9AD}"/>
              </a:ext>
            </a:extLst>
          </p:cNvPr>
          <p:cNvGrpSpPr/>
          <p:nvPr/>
        </p:nvGrpSpPr>
        <p:grpSpPr>
          <a:xfrm>
            <a:off x="7295059" y="3588712"/>
            <a:ext cx="1450614" cy="147000"/>
            <a:chOff x="8120217" y="3558128"/>
            <a:chExt cx="1940664" cy="147000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9D607C2D-C5DF-442D-8A48-59D656A91493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DA20C60-AB0F-478B-8CA7-BFE6B3F9DBD4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0211F3B-8C0B-4A97-9EA8-D67A0CB21FF3}"/>
                </a:ext>
              </a:extLst>
            </p:cNvPr>
            <p:cNvGrpSpPr/>
            <p:nvPr/>
          </p:nvGrpSpPr>
          <p:grpSpPr>
            <a:xfrm>
              <a:off x="8335846" y="3593752"/>
              <a:ext cx="1509402" cy="111376"/>
              <a:chOff x="8335846" y="3499477"/>
              <a:chExt cx="1509402" cy="205652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F1B9279-5D72-436B-AA70-8DE4EE1BA9C3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EFC06FA-2399-48C8-B905-D7338CDD3CDC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4B3B114-19EA-47E8-BE1A-AABBCF4D4F21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817593F-BEB3-4069-B7AD-0436D92788C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499477"/>
                <a:ext cx="0" cy="205652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A67F6FE-9B8F-4A1B-A058-5414093A731F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9F0A976-453B-463F-91D6-0C611B815CBC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565DDC2-7B47-4B83-A0FB-2DC7C7C8BC1B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D3691DC-B356-4D59-99E2-0970AE2C758A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4CEA875-FCA7-44FB-A4C6-37F4D145A96D}"/>
              </a:ext>
            </a:extLst>
          </p:cNvPr>
          <p:cNvGrpSpPr/>
          <p:nvPr/>
        </p:nvGrpSpPr>
        <p:grpSpPr>
          <a:xfrm>
            <a:off x="7295059" y="3936411"/>
            <a:ext cx="1450614" cy="147002"/>
            <a:chOff x="8120217" y="3558128"/>
            <a:chExt cx="1940664" cy="147002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967AD7B-F52F-4B1F-B557-CDADFF492C20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E85ECC0-806C-4FB5-AAC3-F83E14B7B514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E82DF8A-9DA7-42CE-A9D7-D153E0037A75}"/>
                </a:ext>
              </a:extLst>
            </p:cNvPr>
            <p:cNvGrpSpPr/>
            <p:nvPr/>
          </p:nvGrpSpPr>
          <p:grpSpPr>
            <a:xfrm>
              <a:off x="8335846" y="3595364"/>
              <a:ext cx="1509402" cy="109766"/>
              <a:chOff x="8335846" y="3502450"/>
              <a:chExt cx="1509402" cy="202679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B49411CB-20CD-4961-BCEF-F473BF9DE50E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03961EE-4D11-41B0-A80C-6F74F6E972D2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7EB82067-4994-4ABF-9DFE-E6EDD20ACAD8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3EC73D7-0229-49D8-9310-B919F1C32BD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502450"/>
                <a:ext cx="0" cy="20267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6EB320E5-A7E5-43E0-B8AA-F97D163948B3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0048D1FB-D453-418E-825B-CD0FE7434ECD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029C819F-C82D-4546-96FF-9F6354F14FA0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38182D-82AE-4512-8139-D435A9D2FB23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B0DD8EC6-0046-4274-B5A9-B81B57C48785}"/>
              </a:ext>
            </a:extLst>
          </p:cNvPr>
          <p:cNvSpPr/>
          <p:nvPr/>
        </p:nvSpPr>
        <p:spPr bwMode="auto">
          <a:xfrm>
            <a:off x="7227837" y="2948871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B25060C6-9AA8-42B4-9FAE-2F09F4C71448}"/>
              </a:ext>
            </a:extLst>
          </p:cNvPr>
          <p:cNvSpPr/>
          <p:nvPr/>
        </p:nvSpPr>
        <p:spPr bwMode="auto">
          <a:xfrm>
            <a:off x="7227837" y="3296571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3DD55A1A-0126-4F4B-8DAB-7170E3312892}"/>
              </a:ext>
            </a:extLst>
          </p:cNvPr>
          <p:cNvSpPr/>
          <p:nvPr/>
        </p:nvSpPr>
        <p:spPr bwMode="auto">
          <a:xfrm>
            <a:off x="7227837" y="3644271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D4F56831-466C-490B-994D-C4E766A67456}"/>
              </a:ext>
            </a:extLst>
          </p:cNvPr>
          <p:cNvSpPr/>
          <p:nvPr/>
        </p:nvSpPr>
        <p:spPr bwMode="auto">
          <a:xfrm>
            <a:off x="7227837" y="3991970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073F30B-1B75-468A-9E11-233BEF8B686E}"/>
              </a:ext>
            </a:extLst>
          </p:cNvPr>
          <p:cNvSpPr/>
          <p:nvPr/>
        </p:nvSpPr>
        <p:spPr bwMode="auto">
          <a:xfrm>
            <a:off x="9571688" y="3743449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30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819BF1A-393F-4DC0-AAFF-F23D33A65562}"/>
              </a:ext>
            </a:extLst>
          </p:cNvPr>
          <p:cNvSpPr txBox="1"/>
          <p:nvPr/>
        </p:nvSpPr>
        <p:spPr>
          <a:xfrm>
            <a:off x="9616019" y="4218340"/>
            <a:ext cx="564577" cy="23775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del</a:t>
            </a:r>
          </a:p>
        </p:txBody>
      </p:sp>
      <p:sp>
        <p:nvSpPr>
          <p:cNvPr id="75" name="Diamond 3">
            <a:extLst>
              <a:ext uri="{FF2B5EF4-FFF2-40B4-BE49-F238E27FC236}">
                <a16:creationId xmlns:a16="http://schemas.microsoft.com/office/drawing/2014/main" id="{59BED6B8-E637-4542-88C4-C688B7867D90}"/>
              </a:ext>
            </a:extLst>
          </p:cNvPr>
          <p:cNvSpPr/>
          <p:nvPr/>
        </p:nvSpPr>
        <p:spPr bwMode="auto">
          <a:xfrm>
            <a:off x="8982518" y="2767649"/>
            <a:ext cx="323919" cy="2410590"/>
          </a:xfrm>
          <a:custGeom>
            <a:avLst/>
            <a:gdLst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4" fmla="*/ 0 w 594505"/>
              <a:gd name="connsiteY4" fmla="*/ 509452 h 1018903"/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4" fmla="*/ 91440 w 594505"/>
              <a:gd name="connsiteY4" fmla="*/ 600892 h 1018903"/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0" fmla="*/ 0 w 297252"/>
              <a:gd name="connsiteY0" fmla="*/ 0 h 1018903"/>
              <a:gd name="connsiteX1" fmla="*/ 297252 w 297252"/>
              <a:gd name="connsiteY1" fmla="*/ 509452 h 1018903"/>
              <a:gd name="connsiteX2" fmla="*/ 0 w 297252"/>
              <a:gd name="connsiteY2" fmla="*/ 1018903 h 101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7252" h="1018903">
                <a:moveTo>
                  <a:pt x="0" y="0"/>
                </a:moveTo>
                <a:lnTo>
                  <a:pt x="297252" y="509452"/>
                </a:lnTo>
                <a:lnTo>
                  <a:pt x="0" y="1018903"/>
                </a:lnTo>
              </a:path>
            </a:pathLst>
          </a:cu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DE726EF7-D1FA-4062-B4C5-9B6733D5C31E}"/>
              </a:ext>
            </a:extLst>
          </p:cNvPr>
          <p:cNvGrpSpPr/>
          <p:nvPr/>
        </p:nvGrpSpPr>
        <p:grpSpPr>
          <a:xfrm>
            <a:off x="2469759" y="2268043"/>
            <a:ext cx="7252482" cy="341632"/>
            <a:chOff x="735582" y="2268043"/>
            <a:chExt cx="7252482" cy="341632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324E18D1-6B94-4650-90E2-157E1950682B}"/>
                </a:ext>
              </a:extLst>
            </p:cNvPr>
            <p:cNvSpPr/>
            <p:nvPr/>
          </p:nvSpPr>
          <p:spPr bwMode="auto">
            <a:xfrm>
              <a:off x="3084709" y="2268043"/>
              <a:ext cx="2211940" cy="3416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Which algorithm?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3A8272B-7B63-4A7D-A68B-04789BD8FA46}"/>
                </a:ext>
              </a:extLst>
            </p:cNvPr>
            <p:cNvSpPr/>
            <p:nvPr/>
          </p:nvSpPr>
          <p:spPr bwMode="auto">
            <a:xfrm>
              <a:off x="5577476" y="2268043"/>
              <a:ext cx="2410588" cy="3416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Which parameters?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10198808-CC0B-495A-81F7-CAE7F8DC4458}"/>
                </a:ext>
              </a:extLst>
            </p:cNvPr>
            <p:cNvSpPr/>
            <p:nvPr/>
          </p:nvSpPr>
          <p:spPr bwMode="auto">
            <a:xfrm>
              <a:off x="735582" y="2268043"/>
              <a:ext cx="2068299" cy="3416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Which features?</a:t>
              </a:r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0CF168F-2132-4758-BFE1-832832D1F6AC}"/>
              </a:ext>
            </a:extLst>
          </p:cNvPr>
          <p:cNvSpPr/>
          <p:nvPr/>
        </p:nvSpPr>
        <p:spPr bwMode="auto">
          <a:xfrm>
            <a:off x="735582" y="3528963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rPr>
              <a:t>Car brand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D25B7A3-F9AD-4257-871B-494A13D668C1}"/>
              </a:ext>
            </a:extLst>
          </p:cNvPr>
          <p:cNvSpPr/>
          <p:nvPr/>
        </p:nvSpPr>
        <p:spPr bwMode="auto">
          <a:xfrm>
            <a:off x="735582" y="3879259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rPr>
              <a:t>Year of make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4AA2959-6F4C-429A-A8AB-CE521F9CDFEF}"/>
              </a:ext>
            </a:extLst>
          </p:cNvPr>
          <p:cNvGrpSpPr/>
          <p:nvPr/>
        </p:nvGrpSpPr>
        <p:grpSpPr>
          <a:xfrm>
            <a:off x="7295059" y="4281370"/>
            <a:ext cx="1450614" cy="147002"/>
            <a:chOff x="8120217" y="3558128"/>
            <a:chExt cx="1940664" cy="147002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E7EC2C52-1819-4767-80A1-A75A6DFB7A87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6190086-0E14-456D-A3EA-699EEEB26E5F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0DCDE0FC-AFB8-4AF2-968D-59AABFF9ADE3}"/>
                </a:ext>
              </a:extLst>
            </p:cNvPr>
            <p:cNvGrpSpPr/>
            <p:nvPr/>
          </p:nvGrpSpPr>
          <p:grpSpPr>
            <a:xfrm>
              <a:off x="8335846" y="3595364"/>
              <a:ext cx="1509402" cy="109766"/>
              <a:chOff x="8335846" y="3502450"/>
              <a:chExt cx="1509402" cy="202679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09E16FAD-08D0-4E8C-A18F-711C4CEECCCE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F158C30-719E-4C2C-825D-490990D26729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ABE32757-C701-41B2-9C72-E2617C77806E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4D0AAB6-5B96-4A7F-B240-D048BDFF71D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502450"/>
                <a:ext cx="0" cy="20267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2900AE66-D293-4436-84A1-E503410EDAC9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B70103E5-57E3-4E59-ACBC-F5BC090D6906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D410592-BE65-46FC-BB57-A316F21EA63C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53C2D859-5A03-4D3C-BFBF-A8976DC67BEA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F6F4027C-0511-46B4-9511-0BB75D5B785C}"/>
              </a:ext>
            </a:extLst>
          </p:cNvPr>
          <p:cNvSpPr/>
          <p:nvPr/>
        </p:nvSpPr>
        <p:spPr bwMode="auto">
          <a:xfrm>
            <a:off x="7227837" y="4336929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52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4.44444E-6 L -0.14232 4.44444E-6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12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"/>
                            </p:stCondLst>
                            <p:childTnLst>
                              <p:par>
                                <p:cTn id="74" presetID="63" presetClass="path" presetSubtype="0" accel="24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07407E-6 L 0.09245 -4.07407E-6 " pathEditMode="relative" rAng="0" ptsTypes="AA">
                                      <p:cBhvr>
                                        <p:cTn id="75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22" y="0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63" presetClass="path" presetSubtype="0" accel="24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7.40741E-7 L 0.03958 -7.40741E-7 " pathEditMode="relative" rAng="0" ptsTypes="AA">
                                      <p:cBhvr>
                                        <p:cTn id="77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" y="0"/>
                                    </p:animMotion>
                                  </p:childTnLst>
                                </p:cTn>
                              </p:par>
                              <p:par>
                                <p:cTn id="78" presetID="63" presetClass="path" presetSubtype="0" accel="24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2.59259E-6 L 0.05286 2.59259E-6 " pathEditMode="relative" rAng="0" ptsTypes="AA">
                                      <p:cBhvr>
                                        <p:cTn id="79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43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63" presetClass="path" presetSubtype="0" accel="24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07407E-6 L 0.02643 -4.07407E-6 " pathEditMode="relative" rAng="0" ptsTypes="AA">
                                      <p:cBhvr>
                                        <p:cTn id="81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15" y="0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63" presetClass="path" presetSubtype="0" accel="24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3.7037E-7 L 0.07916 -3.7037E-7 " pathEditMode="relative" rAng="0" ptsTypes="AA">
                                      <p:cBhvr>
                                        <p:cTn id="83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250"/>
                            </p:stCondLst>
                            <p:childTnLst>
                              <p:par>
                                <p:cTn id="8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750"/>
                            </p:stCondLst>
                            <p:childTnLst>
                              <p:par>
                                <p:cTn id="9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7" grpId="1"/>
      <p:bldP spid="9" grpId="0"/>
      <p:bldP spid="11" grpId="0" animBg="1"/>
      <p:bldP spid="12" grpId="0" animBg="1"/>
      <p:bldP spid="13" grpId="0"/>
      <p:bldP spid="66" grpId="0" animBg="1"/>
      <p:bldP spid="66" grpId="1" animBg="1"/>
      <p:bldP spid="67" grpId="0" animBg="1"/>
      <p:bldP spid="67" grpId="1" animBg="1"/>
      <p:bldP spid="68" grpId="0" animBg="1"/>
      <p:bldP spid="68" grpId="1" animBg="1"/>
      <p:bldP spid="69" grpId="0" animBg="1"/>
      <p:bldP spid="69" grpId="1" animBg="1"/>
      <p:bldP spid="73" grpId="0" animBg="1"/>
      <p:bldP spid="74" grpId="0"/>
      <p:bldP spid="75" grpId="0" animBg="1"/>
      <p:bldP spid="104" grpId="0" animBg="1"/>
      <p:bldP spid="105" grpId="0" animBg="1"/>
      <p:bldP spid="85" grpId="0" animBg="1"/>
      <p:bldP spid="85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D24F1C5-AFA1-4EB9-B62D-87EF246C2E29}"/>
              </a:ext>
            </a:extLst>
          </p:cNvPr>
          <p:cNvSpPr/>
          <p:nvPr/>
        </p:nvSpPr>
        <p:spPr bwMode="auto">
          <a:xfrm>
            <a:off x="5577476" y="2780150"/>
            <a:ext cx="1669661" cy="175067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Criterion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Loss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Min Samples Split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Min Samples Leaf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Other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92192048-1443-47D3-9B5E-3646ED6B16D2}"/>
              </a:ext>
            </a:extLst>
          </p:cNvPr>
          <p:cNvSpPr/>
          <p:nvPr/>
        </p:nvSpPr>
        <p:spPr bwMode="auto">
          <a:xfrm>
            <a:off x="5577476" y="2780150"/>
            <a:ext cx="1669661" cy="175067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Neighbors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Weights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Metric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P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Other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85050E8-530B-48B8-8D30-6B4189AAC40C}"/>
              </a:ext>
            </a:extLst>
          </p:cNvPr>
          <p:cNvSpPr/>
          <p:nvPr/>
        </p:nvSpPr>
        <p:spPr bwMode="auto">
          <a:xfrm>
            <a:off x="3084709" y="2268043"/>
            <a:ext cx="2211940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Which algorithm?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FBE1EA-D672-4BA2-8AC5-8F9258F9AE8E}"/>
              </a:ext>
            </a:extLst>
          </p:cNvPr>
          <p:cNvSpPr/>
          <p:nvPr/>
        </p:nvSpPr>
        <p:spPr bwMode="auto">
          <a:xfrm>
            <a:off x="5577476" y="2268043"/>
            <a:ext cx="2410588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hich parameters?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2EE7413-F083-4FA4-B233-0BE9A60054A1}"/>
              </a:ext>
            </a:extLst>
          </p:cNvPr>
          <p:cNvSpPr/>
          <p:nvPr/>
        </p:nvSpPr>
        <p:spPr bwMode="auto">
          <a:xfrm>
            <a:off x="735582" y="2268043"/>
            <a:ext cx="2068299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hich feature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68F540-B516-4595-99BE-669BAE43E877}"/>
              </a:ext>
            </a:extLst>
          </p:cNvPr>
          <p:cNvSpPr/>
          <p:nvPr/>
        </p:nvSpPr>
        <p:spPr bwMode="auto">
          <a:xfrm>
            <a:off x="735582" y="2780150"/>
            <a:ext cx="1775864" cy="210461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Mileage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Condition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Car brand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Year of make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Regulations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13D47F-F817-488D-A5C9-E311626DB096}"/>
              </a:ext>
            </a:extLst>
          </p:cNvPr>
          <p:cNvSpPr/>
          <p:nvPr/>
        </p:nvSpPr>
        <p:spPr bwMode="auto">
          <a:xfrm>
            <a:off x="3084711" y="2780150"/>
            <a:ext cx="2281590" cy="210461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Gradient Boosted  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Nearest Neighbors 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SVM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Bayesian Regression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LGBM </a:t>
            </a:r>
          </a:p>
          <a:p>
            <a:pPr marL="0" marR="0" lvl="0" indent="0" algn="l" defTabSz="932472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9EEEBE-474C-4A48-8C83-5F1694ABB77B}"/>
              </a:ext>
            </a:extLst>
          </p:cNvPr>
          <p:cNvSpPr/>
          <p:nvPr/>
        </p:nvSpPr>
        <p:spPr bwMode="auto">
          <a:xfrm>
            <a:off x="3084711" y="3156498"/>
            <a:ext cx="2084214" cy="33832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rPr>
              <a:t>Nearest Neighbor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7F8B3D-BA5D-451F-A1DB-80D9356B9AD0}"/>
              </a:ext>
            </a:extLst>
          </p:cNvPr>
          <p:cNvGrpSpPr/>
          <p:nvPr/>
        </p:nvGrpSpPr>
        <p:grpSpPr>
          <a:xfrm>
            <a:off x="7295059" y="2917625"/>
            <a:ext cx="1450614" cy="147003"/>
            <a:chOff x="8120217" y="3558128"/>
            <a:chExt cx="1940664" cy="14700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6E66D7F-221D-4A0D-A9EC-9E8497E2AEAA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F721B48-8884-4907-8896-F0A5619E29E6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70DBDBC-C4D7-4D6E-9975-A40CD248796E}"/>
                </a:ext>
              </a:extLst>
            </p:cNvPr>
            <p:cNvGrpSpPr/>
            <p:nvPr/>
          </p:nvGrpSpPr>
          <p:grpSpPr>
            <a:xfrm>
              <a:off x="8335846" y="3593256"/>
              <a:ext cx="1509402" cy="111875"/>
              <a:chOff x="8335846" y="3498555"/>
              <a:chExt cx="1509402" cy="206573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33F4E9F9-A7BB-417B-B7D8-44E513C1E35E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4471F8A-A6FF-478F-B21C-16B27F79EA16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87BD7BAD-A456-4CDA-AAF2-5B28F66CF7AC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6D93968D-4ED1-4D98-BC02-7CE789FA38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498555"/>
                <a:ext cx="0" cy="206573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6F79CF59-778A-4310-9EAA-73FC5193DBEB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235C58FA-21CF-4D4E-8F85-D218ABD5DBD4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307C462-2E34-4B78-AF4D-6D93FF61EB7D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482B236-4337-4E82-BF42-5F3BF652CD04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3E6691-849A-42CE-B310-226C974D8545}"/>
              </a:ext>
            </a:extLst>
          </p:cNvPr>
          <p:cNvGrpSpPr/>
          <p:nvPr/>
        </p:nvGrpSpPr>
        <p:grpSpPr>
          <a:xfrm>
            <a:off x="7295059" y="3257223"/>
            <a:ext cx="1450614" cy="146999"/>
            <a:chOff x="8120217" y="3558128"/>
            <a:chExt cx="1940664" cy="146999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A2AADB1-5ACB-4B06-8960-DA5B2CBA9577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71EAF7-2482-48BE-B9D1-ED930A7D5255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B140EAB-319E-4A3D-BADD-1487F2A8610F}"/>
                </a:ext>
              </a:extLst>
            </p:cNvPr>
            <p:cNvGrpSpPr/>
            <p:nvPr/>
          </p:nvGrpSpPr>
          <p:grpSpPr>
            <a:xfrm>
              <a:off x="8335846" y="3592140"/>
              <a:ext cx="1509402" cy="112986"/>
              <a:chOff x="8335846" y="3496504"/>
              <a:chExt cx="1509402" cy="208625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E00BEBDB-ED9F-4CF4-86F8-6932A394656B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385136C-A8BF-418A-AC51-79F632211548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ED7CE1A0-DB70-4794-98EC-7F2367C9D904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FE2E449-5E21-4074-AE06-FFA79787AFB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496504"/>
                <a:ext cx="0" cy="208625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7693B8E-21A1-4B6A-B15E-5563F05446DF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8085440-B678-4A53-91EA-F68A0F5D3ABF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ECADAF9-6666-4671-8DF5-6C4B0902B046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F39F7B7-30CE-40EC-BD52-084CB961FCF6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2862650-122D-478D-A643-4F78F1CFC9AD}"/>
              </a:ext>
            </a:extLst>
          </p:cNvPr>
          <p:cNvGrpSpPr/>
          <p:nvPr/>
        </p:nvGrpSpPr>
        <p:grpSpPr>
          <a:xfrm>
            <a:off x="7295059" y="3596817"/>
            <a:ext cx="1450614" cy="147000"/>
            <a:chOff x="8120217" y="3558128"/>
            <a:chExt cx="1940664" cy="147000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9D607C2D-C5DF-442D-8A48-59D656A91493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DA20C60-AB0F-478B-8CA7-BFE6B3F9DBD4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0211F3B-8C0B-4A97-9EA8-D67A0CB21FF3}"/>
                </a:ext>
              </a:extLst>
            </p:cNvPr>
            <p:cNvGrpSpPr/>
            <p:nvPr/>
          </p:nvGrpSpPr>
          <p:grpSpPr>
            <a:xfrm>
              <a:off x="8335846" y="3593752"/>
              <a:ext cx="1509402" cy="111376"/>
              <a:chOff x="8335846" y="3499477"/>
              <a:chExt cx="1509402" cy="205652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F1B9279-5D72-436B-AA70-8DE4EE1BA9C3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EFC06FA-2399-48C8-B905-D7338CDD3CDC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4B3B114-19EA-47E8-BE1A-AABBCF4D4F21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817593F-BEB3-4069-B7AD-0436D92788C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499477"/>
                <a:ext cx="0" cy="205652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A67F6FE-9B8F-4A1B-A058-5414093A731F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9F0A976-453B-463F-91D6-0C611B815CBC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565DDC2-7B47-4B83-A0FB-2DC7C7C8BC1B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D3691DC-B356-4D59-99E2-0970AE2C758A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4CEA875-FCA7-44FB-A4C6-37F4D145A96D}"/>
              </a:ext>
            </a:extLst>
          </p:cNvPr>
          <p:cNvGrpSpPr/>
          <p:nvPr/>
        </p:nvGrpSpPr>
        <p:grpSpPr>
          <a:xfrm>
            <a:off x="7295059" y="3936411"/>
            <a:ext cx="1450614" cy="147002"/>
            <a:chOff x="8120217" y="3558128"/>
            <a:chExt cx="1940664" cy="147002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967AD7B-F52F-4B1F-B557-CDADFF492C20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E85ECC0-806C-4FB5-AAC3-F83E14B7B514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E82DF8A-9DA7-42CE-A9D7-D153E0037A75}"/>
                </a:ext>
              </a:extLst>
            </p:cNvPr>
            <p:cNvGrpSpPr/>
            <p:nvPr/>
          </p:nvGrpSpPr>
          <p:grpSpPr>
            <a:xfrm>
              <a:off x="8335846" y="3595364"/>
              <a:ext cx="1509402" cy="109766"/>
              <a:chOff x="8335846" y="3502450"/>
              <a:chExt cx="1509402" cy="202679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B49411CB-20CD-4961-BCEF-F473BF9DE50E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03961EE-4D11-41B0-A80C-6F74F6E972D2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7EB82067-4994-4ABF-9DFE-E6EDD20ACAD8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3EC73D7-0229-49D8-9310-B919F1C32BD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502450"/>
                <a:ext cx="0" cy="20267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6EB320E5-A7E5-43E0-B8AA-F97D163948B3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0048D1FB-D453-418E-825B-CD0FE7434ECD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029C819F-C82D-4546-96FF-9F6354F14FA0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38182D-82AE-4512-8139-D435A9D2FB23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B0DD8EC6-0046-4274-B5A9-B81B57C48785}"/>
              </a:ext>
            </a:extLst>
          </p:cNvPr>
          <p:cNvSpPr/>
          <p:nvPr/>
        </p:nvSpPr>
        <p:spPr bwMode="auto">
          <a:xfrm>
            <a:off x="8354730" y="2973188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B25060C6-9AA8-42B4-9FAE-2F09F4C71448}"/>
              </a:ext>
            </a:extLst>
          </p:cNvPr>
          <p:cNvSpPr/>
          <p:nvPr/>
        </p:nvSpPr>
        <p:spPr bwMode="auto">
          <a:xfrm>
            <a:off x="7712911" y="3312783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3DD55A1A-0126-4F4B-8DAB-7170E3312892}"/>
              </a:ext>
            </a:extLst>
          </p:cNvPr>
          <p:cNvSpPr/>
          <p:nvPr/>
        </p:nvSpPr>
        <p:spPr bwMode="auto">
          <a:xfrm>
            <a:off x="7863791" y="3652378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D4F56831-466C-490B-994D-C4E766A67456}"/>
              </a:ext>
            </a:extLst>
          </p:cNvPr>
          <p:cNvSpPr/>
          <p:nvPr/>
        </p:nvSpPr>
        <p:spPr bwMode="auto">
          <a:xfrm>
            <a:off x="7542627" y="3991973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073F30B-1B75-468A-9E11-233BEF8B686E}"/>
              </a:ext>
            </a:extLst>
          </p:cNvPr>
          <p:cNvSpPr/>
          <p:nvPr/>
        </p:nvSpPr>
        <p:spPr bwMode="auto">
          <a:xfrm>
            <a:off x="9571688" y="3743449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50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819BF1A-393F-4DC0-AAFF-F23D33A65562}"/>
              </a:ext>
            </a:extLst>
          </p:cNvPr>
          <p:cNvSpPr txBox="1"/>
          <p:nvPr/>
        </p:nvSpPr>
        <p:spPr>
          <a:xfrm>
            <a:off x="9605599" y="4225265"/>
            <a:ext cx="585417" cy="244682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del</a:t>
            </a:r>
          </a:p>
        </p:txBody>
      </p:sp>
      <p:sp>
        <p:nvSpPr>
          <p:cNvPr id="75" name="Diamond 3">
            <a:extLst>
              <a:ext uri="{FF2B5EF4-FFF2-40B4-BE49-F238E27FC236}">
                <a16:creationId xmlns:a16="http://schemas.microsoft.com/office/drawing/2014/main" id="{59BED6B8-E637-4542-88C4-C688B7867D90}"/>
              </a:ext>
            </a:extLst>
          </p:cNvPr>
          <p:cNvSpPr/>
          <p:nvPr/>
        </p:nvSpPr>
        <p:spPr bwMode="auto">
          <a:xfrm>
            <a:off x="8982518" y="2767649"/>
            <a:ext cx="323919" cy="2410590"/>
          </a:xfrm>
          <a:custGeom>
            <a:avLst/>
            <a:gdLst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4" fmla="*/ 0 w 594505"/>
              <a:gd name="connsiteY4" fmla="*/ 509452 h 1018903"/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4" fmla="*/ 91440 w 594505"/>
              <a:gd name="connsiteY4" fmla="*/ 600892 h 1018903"/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0" fmla="*/ 0 w 297252"/>
              <a:gd name="connsiteY0" fmla="*/ 0 h 1018903"/>
              <a:gd name="connsiteX1" fmla="*/ 297252 w 297252"/>
              <a:gd name="connsiteY1" fmla="*/ 509452 h 1018903"/>
              <a:gd name="connsiteX2" fmla="*/ 0 w 297252"/>
              <a:gd name="connsiteY2" fmla="*/ 1018903 h 101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7252" h="1018903">
                <a:moveTo>
                  <a:pt x="0" y="0"/>
                </a:moveTo>
                <a:lnTo>
                  <a:pt x="297252" y="509452"/>
                </a:lnTo>
                <a:lnTo>
                  <a:pt x="0" y="1018903"/>
                </a:lnTo>
              </a:path>
            </a:pathLst>
          </a:cu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7B495D5-2B30-4AA1-AA98-F45B619A2F83}"/>
              </a:ext>
            </a:extLst>
          </p:cNvPr>
          <p:cNvGrpSpPr/>
          <p:nvPr/>
        </p:nvGrpSpPr>
        <p:grpSpPr>
          <a:xfrm>
            <a:off x="588264" y="5680406"/>
            <a:ext cx="8661068" cy="663526"/>
            <a:chOff x="837632" y="5844616"/>
            <a:chExt cx="9792001" cy="663526"/>
          </a:xfrm>
        </p:grpSpPr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CD9E5583-191B-46A7-89A0-4970E92444F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727283" y="954965"/>
              <a:ext cx="12700" cy="9792001"/>
            </a:xfrm>
            <a:prstGeom prst="bentConnector3">
              <a:avLst>
                <a:gd name="adj1" fmla="val 2170835"/>
              </a:avLst>
            </a:prstGeom>
            <a:ln w="12700">
              <a:solidFill>
                <a:schemeClr val="tx2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619FF23F-887C-46B1-9898-6C2E0700A7A2}"/>
                </a:ext>
              </a:extLst>
            </p:cNvPr>
            <p:cNvSpPr/>
            <p:nvPr/>
          </p:nvSpPr>
          <p:spPr bwMode="auto">
            <a:xfrm>
              <a:off x="5160653" y="6221910"/>
              <a:ext cx="1145960" cy="2862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terate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DA2B4-1C0E-4041-B2C8-AE1DBE888000}"/>
              </a:ext>
            </a:extLst>
          </p:cNvPr>
          <p:cNvSpPr/>
          <p:nvPr/>
        </p:nvSpPr>
        <p:spPr bwMode="auto">
          <a:xfrm>
            <a:off x="9571688" y="3751867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30%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66313DE-E1C9-40AE-938F-A49589B1BBD4}"/>
              </a:ext>
            </a:extLst>
          </p:cNvPr>
          <p:cNvSpPr/>
          <p:nvPr/>
        </p:nvSpPr>
        <p:spPr bwMode="auto">
          <a:xfrm>
            <a:off x="3084711" y="2805466"/>
            <a:ext cx="2084214" cy="33832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rPr>
              <a:t>Gradient Boosted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5076285-431D-44B4-824C-4F8DF6C6B7A4}"/>
              </a:ext>
            </a:extLst>
          </p:cNvPr>
          <p:cNvGrpSpPr/>
          <p:nvPr/>
        </p:nvGrpSpPr>
        <p:grpSpPr>
          <a:xfrm>
            <a:off x="736222" y="2831239"/>
            <a:ext cx="1859572" cy="1345646"/>
            <a:chOff x="887982" y="2981479"/>
            <a:chExt cx="1859572" cy="1345646"/>
          </a:xfrm>
          <a:solidFill>
            <a:schemeClr val="tx2"/>
          </a:solidFill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2DB19555-5C4A-423A-81BC-6D0081323C7C}"/>
                </a:ext>
              </a:extLst>
            </p:cNvPr>
            <p:cNvSpPr/>
            <p:nvPr/>
          </p:nvSpPr>
          <p:spPr bwMode="auto">
            <a:xfrm>
              <a:off x="887982" y="2981479"/>
              <a:ext cx="1859572" cy="2954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Mileage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71FE8245-9253-4C95-833E-F8CE7A73D919}"/>
                </a:ext>
              </a:extLst>
            </p:cNvPr>
            <p:cNvSpPr/>
            <p:nvPr/>
          </p:nvSpPr>
          <p:spPr bwMode="auto">
            <a:xfrm>
              <a:off x="887982" y="3681363"/>
              <a:ext cx="1859572" cy="2954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Car brand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A5C9A6E2-03E2-4179-B9E9-43BE2661A750}"/>
                </a:ext>
              </a:extLst>
            </p:cNvPr>
            <p:cNvSpPr/>
            <p:nvPr/>
          </p:nvSpPr>
          <p:spPr bwMode="auto">
            <a:xfrm>
              <a:off x="887982" y="4031659"/>
              <a:ext cx="1859572" cy="2954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Year of make</a:t>
              </a:r>
            </a:p>
          </p:txBody>
        </p:sp>
      </p:grpSp>
      <p:sp>
        <p:nvSpPr>
          <p:cNvPr id="85" name="Title 2">
            <a:extLst>
              <a:ext uri="{FF2B5EF4-FFF2-40B4-BE49-F238E27FC236}">
                <a16:creationId xmlns:a16="http://schemas.microsoft.com/office/drawing/2014/main" id="{13F8367B-3F84-4C8E-A92F-13A42CD613E0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1107996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kern="1200" cap="none" spc="-147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37" b="0" i="0" u="none" strike="noStrike" kern="1200" cap="none" spc="-147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odel creation is typically a time consuming process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12BEC75-D81D-4186-8772-659189043A0B}"/>
              </a:ext>
            </a:extLst>
          </p:cNvPr>
          <p:cNvGrpSpPr/>
          <p:nvPr/>
        </p:nvGrpSpPr>
        <p:grpSpPr>
          <a:xfrm>
            <a:off x="736222" y="3181181"/>
            <a:ext cx="1859572" cy="995704"/>
            <a:chOff x="887982" y="3331421"/>
            <a:chExt cx="1859572" cy="995704"/>
          </a:xfrm>
          <a:solidFill>
            <a:schemeClr val="tx2"/>
          </a:solidFill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3B809B-6138-4491-82C4-842FA4297CF5}"/>
                </a:ext>
              </a:extLst>
            </p:cNvPr>
            <p:cNvSpPr/>
            <p:nvPr/>
          </p:nvSpPr>
          <p:spPr bwMode="auto">
            <a:xfrm>
              <a:off x="887982" y="3681363"/>
              <a:ext cx="1859572" cy="2954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Car brand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F10017AA-64D2-4E65-84D5-C84A8DD03586}"/>
                </a:ext>
              </a:extLst>
            </p:cNvPr>
            <p:cNvSpPr/>
            <p:nvPr/>
          </p:nvSpPr>
          <p:spPr bwMode="auto">
            <a:xfrm>
              <a:off x="887982" y="4031659"/>
              <a:ext cx="1859572" cy="2954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Year of make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F5445C5-73C5-489C-9D10-B4969B450FE9}"/>
                </a:ext>
              </a:extLst>
            </p:cNvPr>
            <p:cNvSpPr/>
            <p:nvPr/>
          </p:nvSpPr>
          <p:spPr bwMode="auto">
            <a:xfrm>
              <a:off x="887982" y="3331421"/>
              <a:ext cx="1859572" cy="29546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Condition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CF85DC9-5BD9-4A30-A0F4-9AD7F813FBBF}"/>
              </a:ext>
            </a:extLst>
          </p:cNvPr>
          <p:cNvGrpSpPr/>
          <p:nvPr/>
        </p:nvGrpSpPr>
        <p:grpSpPr>
          <a:xfrm>
            <a:off x="7295059" y="4281370"/>
            <a:ext cx="1450614" cy="147002"/>
            <a:chOff x="8120217" y="3558128"/>
            <a:chExt cx="1940664" cy="147002"/>
          </a:xfrm>
        </p:grpSpPr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FD831044-E06F-46BE-B791-C4588AA8B0FD}"/>
                </a:ext>
              </a:extLst>
            </p:cNvPr>
            <p:cNvCxnSpPr/>
            <p:nvPr/>
          </p:nvCxnSpPr>
          <p:spPr>
            <a:xfrm flipV="1">
              <a:off x="8120217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673CF05-855A-42F6-B8B4-6815B4183A86}"/>
                </a:ext>
              </a:extLst>
            </p:cNvPr>
            <p:cNvCxnSpPr/>
            <p:nvPr/>
          </p:nvCxnSpPr>
          <p:spPr>
            <a:xfrm flipV="1">
              <a:off x="10060881" y="3558128"/>
              <a:ext cx="0" cy="14699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70EB13C6-CB43-4DFB-ACBA-BA73ADB8BA5A}"/>
                </a:ext>
              </a:extLst>
            </p:cNvPr>
            <p:cNvGrpSpPr/>
            <p:nvPr/>
          </p:nvGrpSpPr>
          <p:grpSpPr>
            <a:xfrm>
              <a:off x="8335846" y="3595364"/>
              <a:ext cx="1509402" cy="109766"/>
              <a:chOff x="8335846" y="3502450"/>
              <a:chExt cx="1509402" cy="202679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36177D08-0A16-4664-BCEF-F8466BAA5189}"/>
                  </a:ext>
                </a:extLst>
              </p:cNvPr>
              <p:cNvCxnSpPr/>
              <p:nvPr/>
            </p:nvCxnSpPr>
            <p:spPr>
              <a:xfrm flipV="1">
                <a:off x="8335846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B8327A26-4063-4476-A929-43C18A757171}"/>
                  </a:ext>
                </a:extLst>
              </p:cNvPr>
              <p:cNvCxnSpPr/>
              <p:nvPr/>
            </p:nvCxnSpPr>
            <p:spPr>
              <a:xfrm flipV="1">
                <a:off x="8551475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1135E53D-F0C8-4E22-A844-588BEFBD2306}"/>
                  </a:ext>
                </a:extLst>
              </p:cNvPr>
              <p:cNvCxnSpPr/>
              <p:nvPr/>
            </p:nvCxnSpPr>
            <p:spPr>
              <a:xfrm flipV="1">
                <a:off x="8767104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87D8D64-1156-4C04-AC90-9AFA7DFFD56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82733" y="3502450"/>
                <a:ext cx="0" cy="20267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A1925A22-FA2D-4017-A757-00855BF459B8}"/>
                  </a:ext>
                </a:extLst>
              </p:cNvPr>
              <p:cNvCxnSpPr/>
              <p:nvPr/>
            </p:nvCxnSpPr>
            <p:spPr>
              <a:xfrm flipV="1">
                <a:off x="919836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FF5EC524-7BB5-43E7-8A12-AB79994538B1}"/>
                  </a:ext>
                </a:extLst>
              </p:cNvPr>
              <p:cNvCxnSpPr/>
              <p:nvPr/>
            </p:nvCxnSpPr>
            <p:spPr>
              <a:xfrm flipV="1">
                <a:off x="9413990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4FFD033-D313-436C-B4DD-4B40BA2517DF}"/>
                  </a:ext>
                </a:extLst>
              </p:cNvPr>
              <p:cNvCxnSpPr/>
              <p:nvPr/>
            </p:nvCxnSpPr>
            <p:spPr>
              <a:xfrm flipV="1">
                <a:off x="9629619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B6C3F520-E24D-45F8-8BA0-3C8FC04BB182}"/>
                  </a:ext>
                </a:extLst>
              </p:cNvPr>
              <p:cNvCxnSpPr/>
              <p:nvPr/>
            </p:nvCxnSpPr>
            <p:spPr>
              <a:xfrm flipV="1">
                <a:off x="9845248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6445037D-370B-4B1F-84C2-A80D4B35AC29}"/>
              </a:ext>
            </a:extLst>
          </p:cNvPr>
          <p:cNvSpPr/>
          <p:nvPr/>
        </p:nvSpPr>
        <p:spPr bwMode="auto">
          <a:xfrm>
            <a:off x="8193551" y="4336929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94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0.14284 -0.20348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135" y="-101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250"/>
                            </p:stCondLst>
                            <p:childTnLst>
                              <p:par>
                                <p:cTn id="28" presetID="63" presetClass="path" presetSubtype="0" accel="24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3.7037E-6 L -0.05287 3.7037E-6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43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63" presetClass="path" presetSubtype="0" accel="24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3.33333E-6 L 0.07904 -3.33333E-6 " pathEditMode="relative" rAng="0" ptsTypes="AA">
                                      <p:cBhvr>
                                        <p:cTn id="31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5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3.7037E-7 L 0.0138 -3.7037E-7 " pathEditMode="relative" rAng="0" ptsTypes="AA">
                                      <p:cBhvr>
                                        <p:cTn id="33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0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63" presetClass="path" presetSubtype="0" accel="24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2.59259E-6 L 0.06667 2.59259E-6 " pathEditMode="relative" rAng="0" ptsTypes="AA">
                                      <p:cBhvr>
                                        <p:cTn id="3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33" y="0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63" presetClass="path" presetSubtype="0" accel="24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3.7037E-7 L 0.02709 -3.7037E-7 " pathEditMode="relative" rAng="0" ptsTypes="AA">
                                      <p:cBhvr>
                                        <p:cTn id="37" dur="75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84" grpId="0"/>
      <p:bldP spid="12" grpId="0" animBg="1"/>
      <p:bldP spid="66" grpId="0" animBg="1"/>
      <p:bldP spid="67" grpId="0" animBg="1"/>
      <p:bldP spid="68" grpId="0" animBg="1"/>
      <p:bldP spid="69" grpId="0" animBg="1"/>
      <p:bldP spid="73" grpId="0" animBg="1"/>
      <p:bldP spid="74" grpId="0"/>
      <p:bldP spid="80" grpId="0" animBg="1"/>
      <p:bldP spid="83" grpId="0" animBg="1"/>
      <p:bldP spid="10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D8AE1ED-2270-4A61-B841-2FB66EFCD65D}"/>
              </a:ext>
            </a:extLst>
          </p:cNvPr>
          <p:cNvGrpSpPr/>
          <p:nvPr/>
        </p:nvGrpSpPr>
        <p:grpSpPr>
          <a:xfrm>
            <a:off x="5884446" y="3044537"/>
            <a:ext cx="1450614" cy="1505382"/>
            <a:chOff x="5884446" y="3044537"/>
            <a:chExt cx="1450614" cy="1505382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995BB77-5A05-41A6-9266-9ADBB2F88266}"/>
                </a:ext>
              </a:extLst>
            </p:cNvPr>
            <p:cNvGrpSpPr/>
            <p:nvPr/>
          </p:nvGrpSpPr>
          <p:grpSpPr>
            <a:xfrm>
              <a:off x="5884446" y="3044537"/>
              <a:ext cx="1450614" cy="147003"/>
              <a:chOff x="8120217" y="3558128"/>
              <a:chExt cx="1940664" cy="147003"/>
            </a:xfrm>
          </p:grpSpPr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A2C03983-943E-4E59-8383-78832CD2E20F}"/>
                  </a:ext>
                </a:extLst>
              </p:cNvPr>
              <p:cNvCxnSpPr/>
              <p:nvPr/>
            </p:nvCxnSpPr>
            <p:spPr>
              <a:xfrm flipV="1">
                <a:off x="8120217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CFA1416-A1B0-46EB-AA53-BA421B3A6A62}"/>
                  </a:ext>
                </a:extLst>
              </p:cNvPr>
              <p:cNvCxnSpPr/>
              <p:nvPr/>
            </p:nvCxnSpPr>
            <p:spPr>
              <a:xfrm flipV="1">
                <a:off x="1006088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63FEEBB4-CF81-4A62-A145-6BB88C917CEF}"/>
                  </a:ext>
                </a:extLst>
              </p:cNvPr>
              <p:cNvGrpSpPr/>
              <p:nvPr/>
            </p:nvGrpSpPr>
            <p:grpSpPr>
              <a:xfrm>
                <a:off x="8335846" y="3593256"/>
                <a:ext cx="1509402" cy="111875"/>
                <a:chOff x="8335846" y="3498555"/>
                <a:chExt cx="1509402" cy="206573"/>
              </a:xfrm>
            </p:grpSpPr>
            <p:cxnSp>
              <p:nvCxnSpPr>
                <p:cNvPr id="41" name="Straight Connector 40">
                  <a:extLst>
                    <a:ext uri="{FF2B5EF4-FFF2-40B4-BE49-F238E27FC236}">
                      <a16:creationId xmlns:a16="http://schemas.microsoft.com/office/drawing/2014/main" id="{ABE1743D-D1F2-43E7-B341-1A20A333C275}"/>
                    </a:ext>
                  </a:extLst>
                </p:cNvPr>
                <p:cNvCxnSpPr/>
                <p:nvPr/>
              </p:nvCxnSpPr>
              <p:spPr>
                <a:xfrm flipV="1">
                  <a:off x="8335846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2C39D94C-F515-4933-9AF5-4B2CFA4290EE}"/>
                    </a:ext>
                  </a:extLst>
                </p:cNvPr>
                <p:cNvCxnSpPr/>
                <p:nvPr/>
              </p:nvCxnSpPr>
              <p:spPr>
                <a:xfrm flipV="1">
                  <a:off x="8551475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DEC3DB11-A16E-4FA3-81C1-F37D64614F79}"/>
                    </a:ext>
                  </a:extLst>
                </p:cNvPr>
                <p:cNvCxnSpPr/>
                <p:nvPr/>
              </p:nvCxnSpPr>
              <p:spPr>
                <a:xfrm flipV="1">
                  <a:off x="8767104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2901AC9C-3A65-48E6-8B46-C286C1AB0A9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982733" y="3498555"/>
                  <a:ext cx="0" cy="206573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2F4013FE-06AA-432A-B791-C38C54872705}"/>
                    </a:ext>
                  </a:extLst>
                </p:cNvPr>
                <p:cNvCxnSpPr/>
                <p:nvPr/>
              </p:nvCxnSpPr>
              <p:spPr>
                <a:xfrm flipV="1">
                  <a:off x="9198361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040B3E34-315A-43D8-AA4B-023448EFED54}"/>
                    </a:ext>
                  </a:extLst>
                </p:cNvPr>
                <p:cNvCxnSpPr/>
                <p:nvPr/>
              </p:nvCxnSpPr>
              <p:spPr>
                <a:xfrm flipV="1">
                  <a:off x="9413990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4BC5764D-496A-4C25-8E2B-2168EE748EB2}"/>
                    </a:ext>
                  </a:extLst>
                </p:cNvPr>
                <p:cNvCxnSpPr/>
                <p:nvPr/>
              </p:nvCxnSpPr>
              <p:spPr>
                <a:xfrm flipV="1">
                  <a:off x="9629619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73933A55-06DD-421E-8217-539D482A68B2}"/>
                    </a:ext>
                  </a:extLst>
                </p:cNvPr>
                <p:cNvCxnSpPr/>
                <p:nvPr/>
              </p:nvCxnSpPr>
              <p:spPr>
                <a:xfrm flipV="1">
                  <a:off x="9845248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FBC36DC7-6421-41AA-90FB-4B930E7F7699}"/>
                </a:ext>
              </a:extLst>
            </p:cNvPr>
            <p:cNvGrpSpPr/>
            <p:nvPr/>
          </p:nvGrpSpPr>
          <p:grpSpPr>
            <a:xfrm>
              <a:off x="5884446" y="3384135"/>
              <a:ext cx="1450614" cy="146999"/>
              <a:chOff x="8120217" y="3558128"/>
              <a:chExt cx="1940664" cy="146999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F018632-D3DD-4FB4-B439-BA2DE4ECF3EB}"/>
                  </a:ext>
                </a:extLst>
              </p:cNvPr>
              <p:cNvCxnSpPr/>
              <p:nvPr/>
            </p:nvCxnSpPr>
            <p:spPr>
              <a:xfrm flipV="1">
                <a:off x="8120217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7DA117C8-247D-4054-83E9-865713E71A63}"/>
                  </a:ext>
                </a:extLst>
              </p:cNvPr>
              <p:cNvCxnSpPr/>
              <p:nvPr/>
            </p:nvCxnSpPr>
            <p:spPr>
              <a:xfrm flipV="1">
                <a:off x="1006088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2349FF8E-577E-498D-AB2F-B28E2E1BD54A}"/>
                  </a:ext>
                </a:extLst>
              </p:cNvPr>
              <p:cNvGrpSpPr/>
              <p:nvPr/>
            </p:nvGrpSpPr>
            <p:grpSpPr>
              <a:xfrm>
                <a:off x="8335846" y="3592140"/>
                <a:ext cx="1509402" cy="112986"/>
                <a:chOff x="8335846" y="3496504"/>
                <a:chExt cx="1509402" cy="208625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2EC5FF38-6339-4622-9F80-B1FD5D7DAF8A}"/>
                    </a:ext>
                  </a:extLst>
                </p:cNvPr>
                <p:cNvCxnSpPr/>
                <p:nvPr/>
              </p:nvCxnSpPr>
              <p:spPr>
                <a:xfrm flipV="1">
                  <a:off x="8335846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7F03DFD5-DB55-4A40-9412-5171EF8D1835}"/>
                    </a:ext>
                  </a:extLst>
                </p:cNvPr>
                <p:cNvCxnSpPr/>
                <p:nvPr/>
              </p:nvCxnSpPr>
              <p:spPr>
                <a:xfrm flipV="1">
                  <a:off x="8551475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34710521-9101-48D4-90EE-618C4FDE2EF6}"/>
                    </a:ext>
                  </a:extLst>
                </p:cNvPr>
                <p:cNvCxnSpPr/>
                <p:nvPr/>
              </p:nvCxnSpPr>
              <p:spPr>
                <a:xfrm flipV="1">
                  <a:off x="8767104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3CBB89D8-D9DB-4D62-8272-8D713528E3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982733" y="3496504"/>
                  <a:ext cx="0" cy="208625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FB6CD139-D39D-4878-9E28-BE0C2BD8C6E2}"/>
                    </a:ext>
                  </a:extLst>
                </p:cNvPr>
                <p:cNvCxnSpPr/>
                <p:nvPr/>
              </p:nvCxnSpPr>
              <p:spPr>
                <a:xfrm flipV="1">
                  <a:off x="9198361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F4A0DD67-A763-48FD-A81D-8F04147AB311}"/>
                    </a:ext>
                  </a:extLst>
                </p:cNvPr>
                <p:cNvCxnSpPr/>
                <p:nvPr/>
              </p:nvCxnSpPr>
              <p:spPr>
                <a:xfrm flipV="1">
                  <a:off x="9413990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32CEBA28-FAC1-4C37-B381-EAB4830EBCE2}"/>
                    </a:ext>
                  </a:extLst>
                </p:cNvPr>
                <p:cNvCxnSpPr/>
                <p:nvPr/>
              </p:nvCxnSpPr>
              <p:spPr>
                <a:xfrm flipV="1">
                  <a:off x="9629619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21FEE2D7-34CB-46DC-B3D8-70A182BA7CB6}"/>
                    </a:ext>
                  </a:extLst>
                </p:cNvPr>
                <p:cNvCxnSpPr/>
                <p:nvPr/>
              </p:nvCxnSpPr>
              <p:spPr>
                <a:xfrm flipV="1">
                  <a:off x="9845248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69E9AA7-0CA8-482A-999E-DCB9FD2B890B}"/>
                </a:ext>
              </a:extLst>
            </p:cNvPr>
            <p:cNvGrpSpPr/>
            <p:nvPr/>
          </p:nvGrpSpPr>
          <p:grpSpPr>
            <a:xfrm>
              <a:off x="5884446" y="3723729"/>
              <a:ext cx="1450614" cy="147000"/>
              <a:chOff x="8120217" y="3558128"/>
              <a:chExt cx="1940664" cy="147000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91AFD085-E71F-4890-99A1-521333659CBA}"/>
                  </a:ext>
                </a:extLst>
              </p:cNvPr>
              <p:cNvCxnSpPr/>
              <p:nvPr/>
            </p:nvCxnSpPr>
            <p:spPr>
              <a:xfrm flipV="1">
                <a:off x="8120217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EB1AE87-2B7B-44E9-BF9F-8CCF029CD1DD}"/>
                  </a:ext>
                </a:extLst>
              </p:cNvPr>
              <p:cNvCxnSpPr/>
              <p:nvPr/>
            </p:nvCxnSpPr>
            <p:spPr>
              <a:xfrm flipV="1">
                <a:off x="1006088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4C0965D2-43FB-4D0F-81E7-FA62C2F0C0D3}"/>
                  </a:ext>
                </a:extLst>
              </p:cNvPr>
              <p:cNvGrpSpPr/>
              <p:nvPr/>
            </p:nvGrpSpPr>
            <p:grpSpPr>
              <a:xfrm>
                <a:off x="8335846" y="3593752"/>
                <a:ext cx="1509402" cy="111376"/>
                <a:chOff x="8335846" y="3499477"/>
                <a:chExt cx="1509402" cy="205652"/>
              </a:xfrm>
            </p:grpSpPr>
            <p:cxnSp>
              <p:nvCxnSpPr>
                <p:cNvPr id="67" name="Straight Connector 66">
                  <a:extLst>
                    <a:ext uri="{FF2B5EF4-FFF2-40B4-BE49-F238E27FC236}">
                      <a16:creationId xmlns:a16="http://schemas.microsoft.com/office/drawing/2014/main" id="{EC94363D-8C74-40A0-BFCB-17F1AD4F0698}"/>
                    </a:ext>
                  </a:extLst>
                </p:cNvPr>
                <p:cNvCxnSpPr/>
                <p:nvPr/>
              </p:nvCxnSpPr>
              <p:spPr>
                <a:xfrm flipV="1">
                  <a:off x="8335846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3A890D25-18AF-44F6-9B6F-D4F4487FF2C3}"/>
                    </a:ext>
                  </a:extLst>
                </p:cNvPr>
                <p:cNvCxnSpPr/>
                <p:nvPr/>
              </p:nvCxnSpPr>
              <p:spPr>
                <a:xfrm flipV="1">
                  <a:off x="8551475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3138C371-61A1-42C9-B4A2-79F976A960C6}"/>
                    </a:ext>
                  </a:extLst>
                </p:cNvPr>
                <p:cNvCxnSpPr/>
                <p:nvPr/>
              </p:nvCxnSpPr>
              <p:spPr>
                <a:xfrm flipV="1">
                  <a:off x="8767104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74EF16B2-A7B8-470E-9C44-CDF47811A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982733" y="3499477"/>
                  <a:ext cx="0" cy="205652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FA23ABB0-200B-48EE-A948-E4F8F37FB747}"/>
                    </a:ext>
                  </a:extLst>
                </p:cNvPr>
                <p:cNvCxnSpPr/>
                <p:nvPr/>
              </p:nvCxnSpPr>
              <p:spPr>
                <a:xfrm flipV="1">
                  <a:off x="9198361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B6385DD5-FF34-4167-BBD4-00747FF75FC6}"/>
                    </a:ext>
                  </a:extLst>
                </p:cNvPr>
                <p:cNvCxnSpPr/>
                <p:nvPr/>
              </p:nvCxnSpPr>
              <p:spPr>
                <a:xfrm flipV="1">
                  <a:off x="9413990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87FC391A-47BA-4E02-8135-A6E71A404ACC}"/>
                    </a:ext>
                  </a:extLst>
                </p:cNvPr>
                <p:cNvCxnSpPr/>
                <p:nvPr/>
              </p:nvCxnSpPr>
              <p:spPr>
                <a:xfrm flipV="1">
                  <a:off x="9629619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6BD4B48A-796E-4BBD-B449-EA0E46FBC60F}"/>
                    </a:ext>
                  </a:extLst>
                </p:cNvPr>
                <p:cNvCxnSpPr/>
                <p:nvPr/>
              </p:nvCxnSpPr>
              <p:spPr>
                <a:xfrm flipV="1">
                  <a:off x="9845248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8B8793F-DC9E-4FC7-AD81-64D579C99EDC}"/>
                </a:ext>
              </a:extLst>
            </p:cNvPr>
            <p:cNvGrpSpPr/>
            <p:nvPr/>
          </p:nvGrpSpPr>
          <p:grpSpPr>
            <a:xfrm>
              <a:off x="5884446" y="4063323"/>
              <a:ext cx="1450614" cy="147002"/>
              <a:chOff x="8120217" y="3558128"/>
              <a:chExt cx="1940664" cy="147002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491D9C4E-1A37-4B3D-B6C5-63A81C2A777A}"/>
                  </a:ext>
                </a:extLst>
              </p:cNvPr>
              <p:cNvCxnSpPr/>
              <p:nvPr/>
            </p:nvCxnSpPr>
            <p:spPr>
              <a:xfrm flipV="1">
                <a:off x="8120217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289FCC8D-A8D9-4D95-AA3D-2EFCC67F6C29}"/>
                  </a:ext>
                </a:extLst>
              </p:cNvPr>
              <p:cNvCxnSpPr/>
              <p:nvPr/>
            </p:nvCxnSpPr>
            <p:spPr>
              <a:xfrm flipV="1">
                <a:off x="1006088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A9BFA321-5756-42FA-874C-3A83531A87B3}"/>
                  </a:ext>
                </a:extLst>
              </p:cNvPr>
              <p:cNvGrpSpPr/>
              <p:nvPr/>
            </p:nvGrpSpPr>
            <p:grpSpPr>
              <a:xfrm>
                <a:off x="8335846" y="3595364"/>
                <a:ext cx="1509402" cy="109766"/>
                <a:chOff x="8335846" y="3502450"/>
                <a:chExt cx="1509402" cy="202679"/>
              </a:xfrm>
            </p:grpSpPr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65AD5B74-1B00-45C4-B604-AAA31870CB40}"/>
                    </a:ext>
                  </a:extLst>
                </p:cNvPr>
                <p:cNvCxnSpPr/>
                <p:nvPr/>
              </p:nvCxnSpPr>
              <p:spPr>
                <a:xfrm flipV="1">
                  <a:off x="8335846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3C850950-BA30-47D6-9490-154EC1104819}"/>
                    </a:ext>
                  </a:extLst>
                </p:cNvPr>
                <p:cNvCxnSpPr/>
                <p:nvPr/>
              </p:nvCxnSpPr>
              <p:spPr>
                <a:xfrm flipV="1">
                  <a:off x="8551475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292F841C-1B25-438E-9FF8-005F5F97D414}"/>
                    </a:ext>
                  </a:extLst>
                </p:cNvPr>
                <p:cNvCxnSpPr/>
                <p:nvPr/>
              </p:nvCxnSpPr>
              <p:spPr>
                <a:xfrm flipV="1">
                  <a:off x="8767104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87">
                  <a:extLst>
                    <a:ext uri="{FF2B5EF4-FFF2-40B4-BE49-F238E27FC236}">
                      <a16:creationId xmlns:a16="http://schemas.microsoft.com/office/drawing/2014/main" id="{C7ACCF32-A9CE-483B-95B1-4F68EBFC98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982733" y="3502450"/>
                  <a:ext cx="0" cy="20267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>
                  <a:extLst>
                    <a:ext uri="{FF2B5EF4-FFF2-40B4-BE49-F238E27FC236}">
                      <a16:creationId xmlns:a16="http://schemas.microsoft.com/office/drawing/2014/main" id="{D4FB3800-9155-4E5F-AF1E-F31284551263}"/>
                    </a:ext>
                  </a:extLst>
                </p:cNvPr>
                <p:cNvCxnSpPr/>
                <p:nvPr/>
              </p:nvCxnSpPr>
              <p:spPr>
                <a:xfrm flipV="1">
                  <a:off x="9198361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602CA657-BE4B-4048-9C8A-8BB682F42557}"/>
                    </a:ext>
                  </a:extLst>
                </p:cNvPr>
                <p:cNvCxnSpPr/>
                <p:nvPr/>
              </p:nvCxnSpPr>
              <p:spPr>
                <a:xfrm flipV="1">
                  <a:off x="9413990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>
                  <a:extLst>
                    <a:ext uri="{FF2B5EF4-FFF2-40B4-BE49-F238E27FC236}">
                      <a16:creationId xmlns:a16="http://schemas.microsoft.com/office/drawing/2014/main" id="{99F36F5E-8B54-4B75-BCF9-C1D53DF4BE74}"/>
                    </a:ext>
                  </a:extLst>
                </p:cNvPr>
                <p:cNvCxnSpPr/>
                <p:nvPr/>
              </p:nvCxnSpPr>
              <p:spPr>
                <a:xfrm flipV="1">
                  <a:off x="9629619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>
                  <a:extLst>
                    <a:ext uri="{FF2B5EF4-FFF2-40B4-BE49-F238E27FC236}">
                      <a16:creationId xmlns:a16="http://schemas.microsoft.com/office/drawing/2014/main" id="{7D904617-8559-4E41-BC9D-3E4881C0D034}"/>
                    </a:ext>
                  </a:extLst>
                </p:cNvPr>
                <p:cNvCxnSpPr/>
                <p:nvPr/>
              </p:nvCxnSpPr>
              <p:spPr>
                <a:xfrm flipV="1">
                  <a:off x="9845248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264AE4F-C5AC-4148-B274-D99ABD4D60D6}"/>
                </a:ext>
              </a:extLst>
            </p:cNvPr>
            <p:cNvGrpSpPr/>
            <p:nvPr/>
          </p:nvGrpSpPr>
          <p:grpSpPr>
            <a:xfrm>
              <a:off x="5884446" y="4402917"/>
              <a:ext cx="1450614" cy="147002"/>
              <a:chOff x="8120217" y="3558128"/>
              <a:chExt cx="1940664" cy="147002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BEFF23A2-946C-4BAD-8E6B-7812762ACDD5}"/>
                  </a:ext>
                </a:extLst>
              </p:cNvPr>
              <p:cNvCxnSpPr/>
              <p:nvPr/>
            </p:nvCxnSpPr>
            <p:spPr>
              <a:xfrm flipV="1">
                <a:off x="8120217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F9B64E9A-3596-4F19-9B91-6E0E6F82DF0F}"/>
                  </a:ext>
                </a:extLst>
              </p:cNvPr>
              <p:cNvCxnSpPr/>
              <p:nvPr/>
            </p:nvCxnSpPr>
            <p:spPr>
              <a:xfrm flipV="1">
                <a:off x="10060881" y="3558128"/>
                <a:ext cx="0" cy="14699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AEF420FF-3ED7-4F4B-848D-720ED8C39485}"/>
                  </a:ext>
                </a:extLst>
              </p:cNvPr>
              <p:cNvGrpSpPr/>
              <p:nvPr/>
            </p:nvGrpSpPr>
            <p:grpSpPr>
              <a:xfrm>
                <a:off x="8335846" y="3595364"/>
                <a:ext cx="1509402" cy="109766"/>
                <a:chOff x="8335846" y="3502450"/>
                <a:chExt cx="1509402" cy="202679"/>
              </a:xfrm>
            </p:grpSpPr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D6AF544E-ADDF-4260-8FBC-56810DB4448D}"/>
                    </a:ext>
                  </a:extLst>
                </p:cNvPr>
                <p:cNvCxnSpPr/>
                <p:nvPr/>
              </p:nvCxnSpPr>
              <p:spPr>
                <a:xfrm flipV="1">
                  <a:off x="8335846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Connector 112">
                  <a:extLst>
                    <a:ext uri="{FF2B5EF4-FFF2-40B4-BE49-F238E27FC236}">
                      <a16:creationId xmlns:a16="http://schemas.microsoft.com/office/drawing/2014/main" id="{C9177729-9337-4D34-946B-DFE4481F5E46}"/>
                    </a:ext>
                  </a:extLst>
                </p:cNvPr>
                <p:cNvCxnSpPr/>
                <p:nvPr/>
              </p:nvCxnSpPr>
              <p:spPr>
                <a:xfrm flipV="1">
                  <a:off x="8551475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Straight Connector 113">
                  <a:extLst>
                    <a:ext uri="{FF2B5EF4-FFF2-40B4-BE49-F238E27FC236}">
                      <a16:creationId xmlns:a16="http://schemas.microsoft.com/office/drawing/2014/main" id="{8B5F39E7-EF92-481F-B897-34DA903E2595}"/>
                    </a:ext>
                  </a:extLst>
                </p:cNvPr>
                <p:cNvCxnSpPr/>
                <p:nvPr/>
              </p:nvCxnSpPr>
              <p:spPr>
                <a:xfrm flipV="1">
                  <a:off x="8767104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Straight Connector 114">
                  <a:extLst>
                    <a:ext uri="{FF2B5EF4-FFF2-40B4-BE49-F238E27FC236}">
                      <a16:creationId xmlns:a16="http://schemas.microsoft.com/office/drawing/2014/main" id="{73BDB3AA-CDE0-4C62-B51C-DC1F3A0E5C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982733" y="3502450"/>
                  <a:ext cx="0" cy="20267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Straight Connector 115">
                  <a:extLst>
                    <a:ext uri="{FF2B5EF4-FFF2-40B4-BE49-F238E27FC236}">
                      <a16:creationId xmlns:a16="http://schemas.microsoft.com/office/drawing/2014/main" id="{F67783E9-C504-4723-9867-5BFA3F01AFD6}"/>
                    </a:ext>
                  </a:extLst>
                </p:cNvPr>
                <p:cNvCxnSpPr/>
                <p:nvPr/>
              </p:nvCxnSpPr>
              <p:spPr>
                <a:xfrm flipV="1">
                  <a:off x="9198361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Straight Connector 116">
                  <a:extLst>
                    <a:ext uri="{FF2B5EF4-FFF2-40B4-BE49-F238E27FC236}">
                      <a16:creationId xmlns:a16="http://schemas.microsoft.com/office/drawing/2014/main" id="{48A591B9-6BAE-442B-9699-3B4856913C06}"/>
                    </a:ext>
                  </a:extLst>
                </p:cNvPr>
                <p:cNvCxnSpPr/>
                <p:nvPr/>
              </p:nvCxnSpPr>
              <p:spPr>
                <a:xfrm flipV="1">
                  <a:off x="9413990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A8AEBBB1-E1D2-423E-8C80-D660D7BF9FC7}"/>
                    </a:ext>
                  </a:extLst>
                </p:cNvPr>
                <p:cNvCxnSpPr/>
                <p:nvPr/>
              </p:nvCxnSpPr>
              <p:spPr>
                <a:xfrm flipV="1">
                  <a:off x="9629619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82DBB156-D4D6-4F2B-BB8D-63740E75D9C6}"/>
                    </a:ext>
                  </a:extLst>
                </p:cNvPr>
                <p:cNvCxnSpPr/>
                <p:nvPr/>
              </p:nvCxnSpPr>
              <p:spPr>
                <a:xfrm flipV="1">
                  <a:off x="9845248" y="3558128"/>
                  <a:ext cx="0" cy="146999"/>
                </a:xfrm>
                <a:prstGeom prst="line">
                  <a:avLst/>
                </a:prstGeom>
                <a:ln>
                  <a:solidFill>
                    <a:schemeClr val="bg2">
                      <a:lumMod val="90000"/>
                    </a:schemeClr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876C16E-02E3-49C5-B773-9B262EC0EB00}"/>
              </a:ext>
            </a:extLst>
          </p:cNvPr>
          <p:cNvSpPr/>
          <p:nvPr/>
        </p:nvSpPr>
        <p:spPr bwMode="auto">
          <a:xfrm>
            <a:off x="3090134" y="2809506"/>
            <a:ext cx="2078783" cy="32014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AF6BECDC-1136-474D-AD57-07C750BD7A6D}"/>
              </a:ext>
            </a:extLst>
          </p:cNvPr>
          <p:cNvSpPr/>
          <p:nvPr/>
        </p:nvSpPr>
        <p:spPr bwMode="auto">
          <a:xfrm>
            <a:off x="3090134" y="3511941"/>
            <a:ext cx="2078783" cy="32932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81F9281-CBE0-4766-9CEB-2F25D7221217}"/>
              </a:ext>
            </a:extLst>
          </p:cNvPr>
          <p:cNvSpPr/>
          <p:nvPr/>
        </p:nvSpPr>
        <p:spPr bwMode="auto">
          <a:xfrm>
            <a:off x="3090134" y="3867747"/>
            <a:ext cx="2078783" cy="32932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446FD518-64A8-443E-85DA-D36BBF1E57EC}"/>
              </a:ext>
            </a:extLst>
          </p:cNvPr>
          <p:cNvSpPr/>
          <p:nvPr/>
        </p:nvSpPr>
        <p:spPr bwMode="auto">
          <a:xfrm>
            <a:off x="3090134" y="4223555"/>
            <a:ext cx="2078783" cy="32932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76003EBD-BBD0-43A8-ACD9-097C9F3C2F52}"/>
              </a:ext>
            </a:extLst>
          </p:cNvPr>
          <p:cNvSpPr/>
          <p:nvPr/>
        </p:nvSpPr>
        <p:spPr bwMode="auto">
          <a:xfrm>
            <a:off x="3090134" y="3156135"/>
            <a:ext cx="2078783" cy="32932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85050E8-530B-48B8-8D30-6B4189AAC40C}"/>
              </a:ext>
            </a:extLst>
          </p:cNvPr>
          <p:cNvSpPr/>
          <p:nvPr/>
        </p:nvSpPr>
        <p:spPr bwMode="auto">
          <a:xfrm>
            <a:off x="3084709" y="2268043"/>
            <a:ext cx="2211940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Which algorithm?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FBE1EA-D672-4BA2-8AC5-8F9258F9AE8E}"/>
              </a:ext>
            </a:extLst>
          </p:cNvPr>
          <p:cNvSpPr/>
          <p:nvPr/>
        </p:nvSpPr>
        <p:spPr bwMode="auto">
          <a:xfrm>
            <a:off x="5577476" y="2268043"/>
            <a:ext cx="2410588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hich parameters?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2EE7413-F083-4FA4-B233-0BE9A60054A1}"/>
              </a:ext>
            </a:extLst>
          </p:cNvPr>
          <p:cNvSpPr/>
          <p:nvPr/>
        </p:nvSpPr>
        <p:spPr bwMode="auto">
          <a:xfrm>
            <a:off x="735582" y="2268043"/>
            <a:ext cx="2068299" cy="3416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hich features?</a:t>
            </a:r>
          </a:p>
        </p:txBody>
      </p:sp>
      <p:sp>
        <p:nvSpPr>
          <p:cNvPr id="75" name="Diamond 3">
            <a:extLst>
              <a:ext uri="{FF2B5EF4-FFF2-40B4-BE49-F238E27FC236}">
                <a16:creationId xmlns:a16="http://schemas.microsoft.com/office/drawing/2014/main" id="{59BED6B8-E637-4542-88C4-C688B7867D90}"/>
              </a:ext>
            </a:extLst>
          </p:cNvPr>
          <p:cNvSpPr/>
          <p:nvPr/>
        </p:nvSpPr>
        <p:spPr bwMode="auto">
          <a:xfrm>
            <a:off x="8982518" y="2767649"/>
            <a:ext cx="323919" cy="2410590"/>
          </a:xfrm>
          <a:custGeom>
            <a:avLst/>
            <a:gdLst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4" fmla="*/ 0 w 594505"/>
              <a:gd name="connsiteY4" fmla="*/ 509452 h 1018903"/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4" fmla="*/ 91440 w 594505"/>
              <a:gd name="connsiteY4" fmla="*/ 600892 h 1018903"/>
              <a:gd name="connsiteX0" fmla="*/ 0 w 594505"/>
              <a:gd name="connsiteY0" fmla="*/ 509452 h 1018903"/>
              <a:gd name="connsiteX1" fmla="*/ 297253 w 594505"/>
              <a:gd name="connsiteY1" fmla="*/ 0 h 1018903"/>
              <a:gd name="connsiteX2" fmla="*/ 594505 w 594505"/>
              <a:gd name="connsiteY2" fmla="*/ 509452 h 1018903"/>
              <a:gd name="connsiteX3" fmla="*/ 297253 w 594505"/>
              <a:gd name="connsiteY3" fmla="*/ 1018903 h 1018903"/>
              <a:gd name="connsiteX0" fmla="*/ 0 w 297252"/>
              <a:gd name="connsiteY0" fmla="*/ 0 h 1018903"/>
              <a:gd name="connsiteX1" fmla="*/ 297252 w 297252"/>
              <a:gd name="connsiteY1" fmla="*/ 509452 h 1018903"/>
              <a:gd name="connsiteX2" fmla="*/ 0 w 297252"/>
              <a:gd name="connsiteY2" fmla="*/ 1018903 h 101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7252" h="1018903">
                <a:moveTo>
                  <a:pt x="0" y="0"/>
                </a:moveTo>
                <a:lnTo>
                  <a:pt x="297252" y="509452"/>
                </a:lnTo>
                <a:lnTo>
                  <a:pt x="0" y="1018903"/>
                </a:lnTo>
              </a:path>
            </a:pathLst>
          </a:cu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DA2B4-1C0E-4041-B2C8-AE1DBE888000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50%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843B82D-D9A4-4766-8C2A-684A866EB0F0}"/>
              </a:ext>
            </a:extLst>
          </p:cNvPr>
          <p:cNvSpPr/>
          <p:nvPr/>
        </p:nvSpPr>
        <p:spPr bwMode="auto">
          <a:xfrm>
            <a:off x="11310201" y="235381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30%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E12CE79-1D28-42FF-A8D2-F17C5397AD4B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70%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C0B2D7F-DABA-4CF5-986F-41239206EBA7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30%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C138F34D-E681-4EC2-A776-620ACB5B2ADA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45%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C2BBE4FC-909C-4345-B6B7-CD98E0800549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50%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5DC31E9-1B38-490E-97B1-396F5BC8BD37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65%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8AE8513-E5E7-4164-8B0A-DCBE47A37897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95%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6105E7D-98D4-444D-AAC0-1B90A43BA286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35%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5207BB3-4EC0-47BD-9F49-6F6AC0CE2C82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0%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5FBACE0-802F-4F71-94F2-248DEFE1A4CA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75%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EE1EEEC-9147-48AC-AA51-F7D7C757720A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20%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715BD311-5C47-4D16-84A4-CDE3875B2E28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70%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FCC3BB9-011E-43E2-8A6D-CF0B434AEC47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30%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E0AC568-B569-4102-91A1-BD4739EF7142}"/>
              </a:ext>
            </a:extLst>
          </p:cNvPr>
          <p:cNvSpPr/>
          <p:nvPr/>
        </p:nvSpPr>
        <p:spPr bwMode="auto">
          <a:xfrm>
            <a:off x="9571685" y="3749348"/>
            <a:ext cx="653238" cy="45899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15%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30C095D-36FC-4EBB-8DEE-D3469ACDD9BD}"/>
              </a:ext>
            </a:extLst>
          </p:cNvPr>
          <p:cNvGrpSpPr/>
          <p:nvPr/>
        </p:nvGrpSpPr>
        <p:grpSpPr>
          <a:xfrm>
            <a:off x="588264" y="5680406"/>
            <a:ext cx="8661068" cy="663526"/>
            <a:chOff x="837632" y="5844616"/>
            <a:chExt cx="9792001" cy="663526"/>
          </a:xfrm>
        </p:grpSpPr>
        <p:cxnSp>
          <p:nvCxnSpPr>
            <p:cNvPr id="27" name="Connector: Elbow 26">
              <a:extLst>
                <a:ext uri="{FF2B5EF4-FFF2-40B4-BE49-F238E27FC236}">
                  <a16:creationId xmlns:a16="http://schemas.microsoft.com/office/drawing/2014/main" id="{D6DBBF17-7678-4E03-A750-D716BF7D34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727283" y="954965"/>
              <a:ext cx="12700" cy="9792001"/>
            </a:xfrm>
            <a:prstGeom prst="bentConnector3">
              <a:avLst>
                <a:gd name="adj1" fmla="val 2170835"/>
              </a:avLst>
            </a:prstGeom>
            <a:ln w="12700">
              <a:solidFill>
                <a:schemeClr val="tx2"/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9C9708C-5222-4249-BB52-52E83A8D83AC}"/>
                </a:ext>
              </a:extLst>
            </p:cNvPr>
            <p:cNvSpPr/>
            <p:nvPr/>
          </p:nvSpPr>
          <p:spPr bwMode="auto">
            <a:xfrm>
              <a:off x="5160653" y="6221910"/>
              <a:ext cx="1145960" cy="2862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terate</a:t>
              </a:r>
            </a:p>
          </p:txBody>
        </p:sp>
      </p:grpSp>
      <p:sp>
        <p:nvSpPr>
          <p:cNvPr id="121" name="Title 2">
            <a:extLst>
              <a:ext uri="{FF2B5EF4-FFF2-40B4-BE49-F238E27FC236}">
                <a16:creationId xmlns:a16="http://schemas.microsoft.com/office/drawing/2014/main" id="{D98C01AE-6997-4978-8653-72449A6C28F4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1107996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37" b="0" kern="1200" cap="none" spc="-147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37" b="0" i="0" u="none" strike="noStrike" kern="1200" cap="none" spc="-147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Model creation is typically a time consuming process</a:t>
            </a:r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id="{FE4ADEB3-BA1A-4527-97B6-E7A5905F8282}"/>
              </a:ext>
            </a:extLst>
          </p:cNvPr>
          <p:cNvSpPr/>
          <p:nvPr/>
        </p:nvSpPr>
        <p:spPr bwMode="auto">
          <a:xfrm>
            <a:off x="6293870" y="4119222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1" name="Isosceles Triangle 110">
            <a:extLst>
              <a:ext uri="{FF2B5EF4-FFF2-40B4-BE49-F238E27FC236}">
                <a16:creationId xmlns:a16="http://schemas.microsoft.com/office/drawing/2014/main" id="{DC995B4C-717D-4215-9C84-59A63A08436E}"/>
              </a:ext>
            </a:extLst>
          </p:cNvPr>
          <p:cNvSpPr/>
          <p:nvPr/>
        </p:nvSpPr>
        <p:spPr bwMode="auto">
          <a:xfrm>
            <a:off x="6460577" y="3779967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4" name="Isosceles Triangle 123">
            <a:extLst>
              <a:ext uri="{FF2B5EF4-FFF2-40B4-BE49-F238E27FC236}">
                <a16:creationId xmlns:a16="http://schemas.microsoft.com/office/drawing/2014/main" id="{D97260E6-C543-4A04-8701-4A7AD6348720}"/>
              </a:ext>
            </a:extLst>
          </p:cNvPr>
          <p:cNvSpPr/>
          <p:nvPr/>
        </p:nvSpPr>
        <p:spPr bwMode="auto">
          <a:xfrm>
            <a:off x="6944117" y="3101457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Isosceles Triangle 124">
            <a:extLst>
              <a:ext uri="{FF2B5EF4-FFF2-40B4-BE49-F238E27FC236}">
                <a16:creationId xmlns:a16="http://schemas.microsoft.com/office/drawing/2014/main" id="{084B5AF6-26A2-4842-A41A-6E0C87018759}"/>
              </a:ext>
            </a:extLst>
          </p:cNvPr>
          <p:cNvSpPr/>
          <p:nvPr/>
        </p:nvSpPr>
        <p:spPr bwMode="auto">
          <a:xfrm>
            <a:off x="7103941" y="3440712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7ADB0596-0969-46D3-8F50-F5A45D799A8E}"/>
              </a:ext>
            </a:extLst>
          </p:cNvPr>
          <p:cNvSpPr/>
          <p:nvPr/>
        </p:nvSpPr>
        <p:spPr bwMode="auto">
          <a:xfrm>
            <a:off x="736222" y="4231007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FA033DC2-8489-4D03-B39C-76377D071DF5}"/>
              </a:ext>
            </a:extLst>
          </p:cNvPr>
          <p:cNvSpPr/>
          <p:nvPr/>
        </p:nvSpPr>
        <p:spPr bwMode="auto">
          <a:xfrm>
            <a:off x="736222" y="3181181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7465687A-7138-457A-AD69-9EA44E77B92B}"/>
              </a:ext>
            </a:extLst>
          </p:cNvPr>
          <p:cNvSpPr/>
          <p:nvPr/>
        </p:nvSpPr>
        <p:spPr bwMode="auto">
          <a:xfrm>
            <a:off x="736222" y="2831239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3ECF9070-C95C-4AEE-9B8E-522305BBBDAB}"/>
              </a:ext>
            </a:extLst>
          </p:cNvPr>
          <p:cNvSpPr/>
          <p:nvPr/>
        </p:nvSpPr>
        <p:spPr bwMode="auto">
          <a:xfrm>
            <a:off x="736222" y="3531123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AEFA5C18-DBD6-420E-8D38-357F8C70808D}"/>
              </a:ext>
            </a:extLst>
          </p:cNvPr>
          <p:cNvSpPr/>
          <p:nvPr/>
        </p:nvSpPr>
        <p:spPr bwMode="auto">
          <a:xfrm>
            <a:off x="736222" y="3881065"/>
            <a:ext cx="1859572" cy="29546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4864" rIns="91440" bIns="5486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20" name="Isosceles Triangle 119">
            <a:extLst>
              <a:ext uri="{FF2B5EF4-FFF2-40B4-BE49-F238E27FC236}">
                <a16:creationId xmlns:a16="http://schemas.microsoft.com/office/drawing/2014/main" id="{064EFD16-9865-43CE-AAC0-7320880D3E2A}"/>
              </a:ext>
            </a:extLst>
          </p:cNvPr>
          <p:cNvSpPr/>
          <p:nvPr/>
        </p:nvSpPr>
        <p:spPr bwMode="auto">
          <a:xfrm>
            <a:off x="6779933" y="4458475"/>
            <a:ext cx="137160" cy="91440"/>
          </a:xfrm>
          <a:prstGeom prst="triangl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25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2.59259E-6 L 0.14284 -0.10347 " pathEditMode="relative" rAng="0" ptsTypes="AA">
                                      <p:cBhvr>
                                        <p:cTn id="6" dur="1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135" y="-518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2" presetClass="entr" presetSubtype="8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80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" dur="8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5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04167E-6 -2.59259E-6 L 0.14284 -2.59259E-6 " pathEditMode="relative" rAng="0" ptsTypes="AA">
                                      <p:cBhvr>
                                        <p:cTn id="18" dur="1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135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15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15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xit" presetSubtype="1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6" dur="15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2" presetClass="entr" presetSubtype="8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80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1" dur="8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1.04167E-6 -2.59259E-6 L 0.1431 0.10139 " pathEditMode="relative" rAng="0" ptsTypes="AA">
                                      <p:cBhvr>
                                        <p:cTn id="39" dur="1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148" y="5069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22" presetClass="exit" presetSubtype="4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1" dur="15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2" presetClass="entr" presetSubtype="8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80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6" dur="8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5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1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04167E-6 -2.59259E-6 L 0.14219 0.20301 " pathEditMode="relative" rAng="0" ptsTypes="AA">
                                      <p:cBhvr>
                                        <p:cTn id="54" dur="1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109" y="10139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15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ntr" presetSubtype="8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80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1" dur="8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1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accel="50000" decel="5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1.04167E-6 -2.59259E-6 L 0.07161 -0.2037 " pathEditMode="relative" rAng="0" ptsTypes="AA">
                                      <p:cBhvr>
                                        <p:cTn id="69" dur="1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81" y="-10185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22" presetClass="exit" presetSubtype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1" dur="15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2" presetClass="entr" presetSubtype="8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8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6" dur="8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04167E-6 -2.59259E-6 L 0.07161 -0.10185 " pathEditMode="relative" rAng="0" ptsTypes="AA">
                                      <p:cBhvr>
                                        <p:cTn id="84" dur="1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81" y="-5093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15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2" presetClass="entr" presetSubtype="8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80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1" dur="8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grpId="3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1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5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accel="50000" decel="5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1.04167E-6 -2.59259E-6 L 0.07135 -0.00023 " pathEditMode="relative" rAng="0" ptsTypes="AA">
                                      <p:cBhvr>
                                        <p:cTn id="99" dur="1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68" y="-23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22" presetClass="entr" presetSubtype="4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15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xit" presetSubtype="1" fill="hold" grpId="2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04" dur="15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2" presetClass="entr" presetSubtype="8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80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9" dur="8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xit" presetSubtype="0" fill="hold" grpId="2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15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42" presetClass="path" presetSubtype="0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1.04167E-6 -2.59259E-6 L 0.07174 0.10185 " pathEditMode="relative" rAng="0" ptsTypes="AA">
                                      <p:cBhvr>
                                        <p:cTn id="117" dur="1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81" y="5093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22" presetClass="exit" presetSubtype="4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9" dur="15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22" presetClass="exit" presetSubtype="4" fill="hold" grpId="3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22" dur="15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22" presetClass="exit" presetSubtype="4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25" dur="15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2" presetClass="entr" presetSubtype="8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8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0" dur="8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grpId="3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1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42" presetClass="path" presetSubtype="0" accel="50000" decel="5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04167E-6 -2.59259E-6 L 0.07161 0.20278 " pathEditMode="relative" rAng="0" ptsTypes="AA">
                                      <p:cBhvr>
                                        <p:cTn id="138" dur="1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81" y="10139"/>
                                    </p:animMotion>
                                  </p:childTnLst>
                                </p:cTn>
                              </p:par>
                              <p:par>
                                <p:cTn id="139" presetID="12" presetClass="entr" presetSubtype="4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80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2" dur="8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xit" presetSubtype="0" fill="hold" grpId="4" nodeType="withEffect">
                                  <p:stCondLst>
                                    <p:cond delay="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4" dur="1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2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42" presetClass="path" presetSubtype="0" accel="50000" decel="5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04167E-6 -2.59259E-6 L 0.00026 -0.20486 " pathEditMode="relative" rAng="0" ptsTypes="AA">
                                      <p:cBhvr>
                                        <p:cTn id="150" dur="1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0255"/>
                                    </p:animMotion>
                                  </p:childTnLst>
                                </p:cTn>
                              </p:par>
                              <p:par>
                                <p:cTn id="151" presetID="22" presetClass="entr" presetSubtype="1" fill="hold" grpId="2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3" dur="15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22" presetClass="entr" presetSubtype="1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6" dur="15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22" presetClass="entr" presetSubtype="4" fill="hold" grpId="3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9" dur="15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2" presetClass="entr" presetSubtype="4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80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3" dur="8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grpId="4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1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1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42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04167E-6 -2.59259E-6 L 1.04167E-6 -0.10208 " pathEditMode="relative" rAng="0" ptsTypes="AA">
                                      <p:cBhvr>
                                        <p:cTn id="171" dur="1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116"/>
                                    </p:animMotion>
                                  </p:childTnLst>
                                </p:cTn>
                              </p:par>
                              <p:par>
                                <p:cTn id="172" presetID="22" presetClass="entr" presetSubtype="1" fill="hold" grpId="4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15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2" presetClass="entr" presetSubtype="1" fill="hold" grpId="1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7" dur="80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78" dur="8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grpId="2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xit" presetSubtype="0" fill="hold" grpId="4" nodeType="withEffect">
                                  <p:stCondLst>
                                    <p:cond delay="1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3" dur="1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42" presetClass="path" presetSubtype="0" accel="50000" decel="5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1.04167E-6 -2.59259E-6 L -0.00026 0.10047 " pathEditMode="relative" rAng="0" ptsTypes="AA">
                                      <p:cBhvr>
                                        <p:cTn id="186" dur="1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5023"/>
                                    </p:animMotion>
                                  </p:childTnLst>
                                </p:cTn>
                              </p:par>
                              <p:par>
                                <p:cTn id="187" presetID="22" presetClass="exit" presetSubtype="1" fill="hold" grpId="4" nodeType="withEffect">
                                  <p:stCondLst>
                                    <p:cond delay="110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88" dur="15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22" presetClass="exit" presetSubtype="1" fill="hold" grpId="2" nodeType="withEffect">
                                  <p:stCondLst>
                                    <p:cond delay="110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91" dur="15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22" presetClass="exit" presetSubtype="1" fill="hold" grpId="2" nodeType="withEffect">
                                  <p:stCondLst>
                                    <p:cond delay="110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94" dur="15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2" presetClass="entr" presetSubtype="1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8" dur="80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99" dur="8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10" presetClass="exit" presetSubtype="0" fill="hold" grpId="5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1" dur="15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0" presetClass="entr" presetSubtype="0" fill="hold" grpId="2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1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04167E-6 -2.59259E-6 L -0.00013 0.20139 " pathEditMode="relative" rAng="0" ptsTypes="AA">
                                      <p:cBhvr>
                                        <p:cTn id="207" dur="1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0069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22" presetClass="entr" presetSubtype="4" fill="hold" grpId="3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0" dur="15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12" presetClass="entr" presetSubtype="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3" dur="8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4" dur="8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10" presetClass="exit" presetSubtype="0" fill="hold" grpId="4" nodeType="withEffect">
                                  <p:stCondLst>
                                    <p:cond delay="1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6" dur="1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1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0" presetClass="path" presetSubtype="0" accel="3226" decel="322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00046 L -0.05299 0.00046 L -0.02656 0.00046 L -0.07904 0.00046 L 0.01328 0.00046 " pathEditMode="relative" ptsTypes="AAAAA">
                                      <p:cBhvr>
                                        <p:cTn id="222" dur="15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3" presetID="0" presetClass="path" presetSubtype="0" accel="3226" decel="322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0.00047 L -0.06601 0.00047 L -0.0263 0.00047 L -0.10573 0.00047 L -0.03945 0.00047 L -0.06601 0.00047 " pathEditMode="relative" ptsTypes="AAAAAA">
                                      <p:cBhvr>
                                        <p:cTn id="224" dur="15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5" presetID="0" presetClass="path" presetSubtype="0" accel="3226" decel="322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0.00046 L -0.02657 0.00046 L 0.0401 0.00046 L 0.01341 0.00046 L 0.05299 0.00046 L -0.01328 0.00046 " pathEditMode="relative" ptsTypes="AAAAAA">
                                      <p:cBhvr>
                                        <p:cTn id="226" dur="15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7" presetID="0" presetClass="path" presetSubtype="0" accel="3226" decel="322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0092 L 0.01355 0.00092 L -0.02578 0.00092 L 0.03985 0.00092 L 0.0668 0.00092 L 0.05313 0.00092 " pathEditMode="relative" ptsTypes="AAAAAA">
                                      <p:cBhvr>
                                        <p:cTn id="228" dur="155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9" presetID="0" presetClass="path" presetSubtype="0" accel="3226" decel="322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00047 L 0.0263 0.00047 L -0.01289 0.00047 L 0.03997 0.00047 L -0.05274 0.00047 L -0.02682 0.00047 " pathEditMode="relative" ptsTypes="AAAAAA">
                                      <p:cBhvr>
                                        <p:cTn id="230" dur="15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1" fill="hold">
                            <p:stCondLst>
                              <p:cond delay="1550"/>
                            </p:stCondLst>
                            <p:childTnLst>
                              <p:par>
                                <p:cTn id="232" presetID="1" presetClass="emph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233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50E6FF"/>
                                      </p:to>
                                    </p:animClr>
                                    <p:set>
                                      <p:cBhvr>
                                        <p:cTn id="23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6" presetID="3" presetClass="emph" presetSubtype="2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37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 animBg="1"/>
      <p:bldP spid="136" grpId="1" animBg="1"/>
      <p:bldP spid="136" grpId="2" animBg="1"/>
      <p:bldP spid="147" grpId="0" animBg="1"/>
      <p:bldP spid="147" grpId="1" animBg="1"/>
      <p:bldP spid="147" grpId="2" animBg="1"/>
      <p:bldP spid="147" grpId="3" animBg="1"/>
      <p:bldP spid="147" grpId="4" animBg="1"/>
      <p:bldP spid="147" grpId="5" animBg="1"/>
      <p:bldP spid="148" grpId="0" animBg="1"/>
      <p:bldP spid="148" grpId="1" animBg="1"/>
      <p:bldP spid="148" grpId="2" animBg="1"/>
      <p:bldP spid="148" grpId="3" animBg="1"/>
      <p:bldP spid="148" grpId="4" animBg="1"/>
      <p:bldP spid="149" grpId="0" animBg="1"/>
      <p:bldP spid="149" grpId="1" animBg="1"/>
      <p:bldP spid="149" grpId="2" animBg="1"/>
      <p:bldP spid="149" grpId="3" animBg="1"/>
      <p:bldP spid="149" grpId="4" animBg="1"/>
      <p:bldP spid="149" grpId="5" animBg="1"/>
      <p:bldP spid="150" grpId="0" animBg="1"/>
      <p:bldP spid="150" grpId="1" animBg="1"/>
      <p:bldP spid="150" grpId="2" animBg="1"/>
      <p:bldP spid="150" grpId="3" animBg="1"/>
      <p:bldP spid="150" grpId="4" animBg="1"/>
      <p:bldP spid="150" grpId="5" animBg="1"/>
      <p:bldP spid="80" grpId="0" animBg="1"/>
      <p:bldP spid="90" grpId="0" animBg="1"/>
      <p:bldP spid="90" grpId="1" animBg="1"/>
      <p:bldP spid="91" grpId="0" animBg="1"/>
      <p:bldP spid="91" grpId="1" animBg="1"/>
      <p:bldP spid="123" grpId="0" animBg="1"/>
      <p:bldP spid="123" grpId="1" animBg="1"/>
      <p:bldP spid="137" grpId="0" animBg="1"/>
      <p:bldP spid="137" grpId="1" animBg="1"/>
      <p:bldP spid="138" grpId="0" animBg="1"/>
      <p:bldP spid="138" grpId="1" animBg="1"/>
      <p:bldP spid="139" grpId="0" animBg="1"/>
      <p:bldP spid="139" grpId="1" animBg="1"/>
      <p:bldP spid="139" grpId="2" animBg="1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  <p:bldP spid="143" grpId="0" animBg="1"/>
      <p:bldP spid="143" grpId="1" animBg="1"/>
      <p:bldP spid="144" grpId="0" animBg="1"/>
      <p:bldP spid="145" grpId="0" animBg="1"/>
      <p:bldP spid="145" grpId="1" animBg="1"/>
      <p:bldP spid="146" grpId="0" animBg="1"/>
      <p:bldP spid="146" grpId="1" animBg="1"/>
      <p:bldP spid="98" grpId="0" animBg="1"/>
      <p:bldP spid="111" grpId="0" animBg="1"/>
      <p:bldP spid="124" grpId="0" animBg="1"/>
      <p:bldP spid="125" grpId="0" animBg="1"/>
      <p:bldP spid="164" grpId="0" animBg="1"/>
      <p:bldP spid="164" grpId="1" animBg="1"/>
      <p:bldP spid="164" grpId="2" animBg="1"/>
      <p:bldP spid="164" grpId="3" animBg="1"/>
      <p:bldP spid="164" grpId="4" animBg="1"/>
      <p:bldP spid="171" grpId="0" animBg="1"/>
      <p:bldP spid="171" grpId="1" animBg="1"/>
      <p:bldP spid="171" grpId="2" animBg="1"/>
      <p:bldP spid="173" grpId="0" animBg="1"/>
      <p:bldP spid="173" grpId="1" animBg="1"/>
      <p:bldP spid="173" grpId="2" animBg="1"/>
      <p:bldP spid="173" grpId="3" animBg="1"/>
      <p:bldP spid="173" grpId="4" animBg="1"/>
      <p:bldP spid="174" grpId="0" animBg="1"/>
      <p:bldP spid="174" grpId="1" animBg="1"/>
      <p:bldP spid="174" grpId="2" animBg="1"/>
      <p:bldP spid="174" grpId="3" animBg="1"/>
      <p:bldP spid="175" grpId="0" animBg="1"/>
      <p:bldP spid="175" grpId="1" animBg="1"/>
      <p:bldP spid="175" grpId="2" animBg="1"/>
      <p:bldP spid="1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3_LIGHT COLOR TEMPLATE">
  <a:themeElements>
    <a:clrScheme name="Custom 2">
      <a:dk1>
        <a:srgbClr val="505050"/>
      </a:dk1>
      <a:lt1>
        <a:srgbClr val="FFFFFF"/>
      </a:lt1>
      <a:dk2>
        <a:srgbClr val="002050"/>
      </a:dk2>
      <a:lt2>
        <a:srgbClr val="DCDCDC"/>
      </a:lt2>
      <a:accent1>
        <a:srgbClr val="002050"/>
      </a:accent1>
      <a:accent2>
        <a:srgbClr val="5C2D91"/>
      </a:accent2>
      <a:accent3>
        <a:srgbClr val="008272"/>
      </a:accent3>
      <a:accent4>
        <a:srgbClr val="B4009E"/>
      </a:accent4>
      <a:accent5>
        <a:srgbClr val="737373"/>
      </a:accent5>
      <a:accent6>
        <a:srgbClr val="0078D7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F62D4D429C53459F2BD787048C37CF" ma:contentTypeVersion="2" ma:contentTypeDescription="Create a new document." ma:contentTypeScope="" ma:versionID="483591e41a523fe0db71bede134f1fd5">
  <xsd:schema xmlns:xsd="http://www.w3.org/2001/XMLSchema" xmlns:xs="http://www.w3.org/2001/XMLSchema" xmlns:p="http://schemas.microsoft.com/office/2006/metadata/properties" xmlns:ns2="fc5ab33e-eab0-49b9-a176-53fbc6f54500" targetNamespace="http://schemas.microsoft.com/office/2006/metadata/properties" ma:root="true" ma:fieldsID="d2e6886124e38f3b75d875c5cb43b4ad" ns2:_="">
    <xsd:import namespace="fc5ab33e-eab0-49b9-a176-53fbc6f545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5ab33e-eab0-49b9-a176-53fbc6f545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615BB9-DAE9-449D-99F0-0F426BF7333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7F58B4-966B-4067-AFA6-5C88219B2F1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056CECA-3923-422C-A4FC-4BE064B9A3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5ab33e-eab0-49b9-a176-53fbc6f545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328</Words>
  <Application>Microsoft Office PowerPoint</Application>
  <PresentationFormat>Widescreen</PresentationFormat>
  <Paragraphs>109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Arial</vt:lpstr>
      <vt:lpstr>Calibri</vt:lpstr>
      <vt:lpstr>Calibri Light</vt:lpstr>
      <vt:lpstr>Consolas</vt:lpstr>
      <vt:lpstr>Helvetica Neue Light</vt:lpstr>
      <vt:lpstr>Segoe UI</vt:lpstr>
      <vt:lpstr>Segoe UI Light</vt:lpstr>
      <vt:lpstr>Segoe UI Semibold</vt:lpstr>
      <vt:lpstr>Segoe UI Semilight</vt:lpstr>
      <vt:lpstr>Wingdings</vt:lpstr>
      <vt:lpstr>Office Theme</vt:lpstr>
      <vt:lpstr>1_Office Theme</vt:lpstr>
      <vt:lpstr>3_LIGHT COLOR TEMPLATE</vt:lpstr>
      <vt:lpstr>think-cell Slide</vt:lpstr>
      <vt:lpstr>AutoML</vt:lpstr>
      <vt:lpstr>Machine Learning Example </vt:lpstr>
      <vt:lpstr>Model creation is typically a time consuming proces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 AutoML CarPrice Demo</dc:title>
  <dc:creator>Darwin Schweitzer</dc:creator>
  <cp:lastModifiedBy>Rick Durham</cp:lastModifiedBy>
  <cp:revision>6</cp:revision>
  <dcterms:created xsi:type="dcterms:W3CDTF">2019-06-28T20:22:06Z</dcterms:created>
  <dcterms:modified xsi:type="dcterms:W3CDTF">2019-11-19T13:3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darsch@microsoft.com</vt:lpwstr>
  </property>
  <property fmtid="{D5CDD505-2E9C-101B-9397-08002B2CF9AE}" pid="5" name="MSIP_Label_f42aa342-8706-4288-bd11-ebb85995028c_SetDate">
    <vt:lpwstr>2019-06-28T20:23:05.3483172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8529799d-86c4-4215-a6cc-68eda4b9a9f3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2BF62D4D429C53459F2BD787048C37CF</vt:lpwstr>
  </property>
</Properties>
</file>